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1"/>
  </p:notesMasterIdLst>
  <p:sldIdLst>
    <p:sldId id="256" r:id="rId2"/>
    <p:sldId id="257" r:id="rId3"/>
    <p:sldId id="258" r:id="rId4"/>
    <p:sldId id="290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92" r:id="rId15"/>
    <p:sldId id="291" r:id="rId16"/>
    <p:sldId id="293" r:id="rId17"/>
    <p:sldId id="295" r:id="rId18"/>
    <p:sldId id="294" r:id="rId19"/>
    <p:sldId id="296" r:id="rId20"/>
    <p:sldId id="298" r:id="rId21"/>
    <p:sldId id="269" r:id="rId22"/>
    <p:sldId id="270" r:id="rId23"/>
    <p:sldId id="271" r:id="rId24"/>
    <p:sldId id="272" r:id="rId25"/>
    <p:sldId id="274" r:id="rId26"/>
    <p:sldId id="273" r:id="rId27"/>
    <p:sldId id="2134391517" r:id="rId28"/>
    <p:sldId id="2134391516" r:id="rId29"/>
    <p:sldId id="2134391515" r:id="rId30"/>
    <p:sldId id="268" r:id="rId31"/>
    <p:sldId id="276" r:id="rId32"/>
    <p:sldId id="280" r:id="rId33"/>
    <p:sldId id="275" r:id="rId34"/>
    <p:sldId id="288" r:id="rId35"/>
    <p:sldId id="287" r:id="rId36"/>
    <p:sldId id="279" r:id="rId37"/>
    <p:sldId id="286" r:id="rId38"/>
    <p:sldId id="2134391514" r:id="rId39"/>
    <p:sldId id="289" r:id="rId40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BEA83B-8217-4144-B266-09BC3F500E2F}" v="84" dt="2021-09-09T14:11:47.1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67" autoAdjust="0"/>
    <p:restoredTop sz="86462" autoAdjust="0"/>
  </p:normalViewPr>
  <p:slideViewPr>
    <p:cSldViewPr>
      <p:cViewPr varScale="1">
        <p:scale>
          <a:sx n="112" d="100"/>
          <a:sy n="112" d="100"/>
        </p:scale>
        <p:origin x="1326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96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renz, Volkhard (ext)" userId="4a27e2bf-a58c-40ac-b127-3639dd81cb37" providerId="ADAL" clId="{BDBEA83B-8217-4144-B266-09BC3F500E2F}"/>
    <pc:docChg chg="undo redo custSel addSld delSld modSld sldOrd modMainMaster">
      <pc:chgData name="Lorenz, Volkhard (ext)" userId="4a27e2bf-a58c-40ac-b127-3639dd81cb37" providerId="ADAL" clId="{BDBEA83B-8217-4144-B266-09BC3F500E2F}" dt="2021-09-10T14:09:52.580" v="715"/>
      <pc:docMkLst>
        <pc:docMk/>
      </pc:docMkLst>
      <pc:sldChg chg="modSp mod">
        <pc:chgData name="Lorenz, Volkhard (ext)" userId="4a27e2bf-a58c-40ac-b127-3639dd81cb37" providerId="ADAL" clId="{BDBEA83B-8217-4144-B266-09BC3F500E2F}" dt="2021-09-09T08:17:04.333" v="0" actId="553"/>
        <pc:sldMkLst>
          <pc:docMk/>
          <pc:sldMk cId="3358911477" sldId="264"/>
        </pc:sldMkLst>
        <pc:picChg chg="mod">
          <ac:chgData name="Lorenz, Volkhard (ext)" userId="4a27e2bf-a58c-40ac-b127-3639dd81cb37" providerId="ADAL" clId="{BDBEA83B-8217-4144-B266-09BC3F500E2F}" dt="2021-09-09T08:17:04.333" v="0" actId="553"/>
          <ac:picMkLst>
            <pc:docMk/>
            <pc:sldMk cId="3358911477" sldId="264"/>
            <ac:picMk id="12" creationId="{00000000-0000-0000-0000-000000000000}"/>
          </ac:picMkLst>
        </pc:picChg>
        <pc:picChg chg="mod">
          <ac:chgData name="Lorenz, Volkhard (ext)" userId="4a27e2bf-a58c-40ac-b127-3639dd81cb37" providerId="ADAL" clId="{BDBEA83B-8217-4144-B266-09BC3F500E2F}" dt="2021-09-09T08:17:04.333" v="0" actId="553"/>
          <ac:picMkLst>
            <pc:docMk/>
            <pc:sldMk cId="3358911477" sldId="264"/>
            <ac:picMk id="13" creationId="{00000000-0000-0000-0000-000000000000}"/>
          </ac:picMkLst>
        </pc:picChg>
      </pc:sldChg>
      <pc:sldChg chg="modSp mod ord">
        <pc:chgData name="Lorenz, Volkhard (ext)" userId="4a27e2bf-a58c-40ac-b127-3639dd81cb37" providerId="ADAL" clId="{BDBEA83B-8217-4144-B266-09BC3F500E2F}" dt="2021-09-09T14:13:45.346" v="684" actId="20577"/>
        <pc:sldMkLst>
          <pc:docMk/>
          <pc:sldMk cId="2031172711" sldId="269"/>
        </pc:sldMkLst>
        <pc:spChg chg="mod">
          <ac:chgData name="Lorenz, Volkhard (ext)" userId="4a27e2bf-a58c-40ac-b127-3639dd81cb37" providerId="ADAL" clId="{BDBEA83B-8217-4144-B266-09BC3F500E2F}" dt="2021-09-09T14:13:45.346" v="684" actId="20577"/>
          <ac:spMkLst>
            <pc:docMk/>
            <pc:sldMk cId="2031172711" sldId="269"/>
            <ac:spMk id="9" creationId="{00000000-0000-0000-0000-000000000000}"/>
          </ac:spMkLst>
        </pc:spChg>
      </pc:sldChg>
      <pc:sldChg chg="addSp delSp modSp mod delAnim modAnim">
        <pc:chgData name="Lorenz, Volkhard (ext)" userId="4a27e2bf-a58c-40ac-b127-3639dd81cb37" providerId="ADAL" clId="{BDBEA83B-8217-4144-B266-09BC3F500E2F}" dt="2021-09-09T13:30:00.676" v="256"/>
        <pc:sldMkLst>
          <pc:docMk/>
          <pc:sldMk cId="2106673076" sldId="291"/>
        </pc:sldMkLst>
        <pc:spChg chg="del">
          <ac:chgData name="Lorenz, Volkhard (ext)" userId="4a27e2bf-a58c-40ac-b127-3639dd81cb37" providerId="ADAL" clId="{BDBEA83B-8217-4144-B266-09BC3F500E2F}" dt="2021-09-09T11:59:47.845" v="17" actId="478"/>
          <ac:spMkLst>
            <pc:docMk/>
            <pc:sldMk cId="2106673076" sldId="291"/>
            <ac:spMk id="9" creationId="{74B80548-ACC6-4170-91EF-707033A3D8E7}"/>
          </ac:spMkLst>
        </pc:spChg>
        <pc:spChg chg="mod">
          <ac:chgData name="Lorenz, Volkhard (ext)" userId="4a27e2bf-a58c-40ac-b127-3639dd81cb37" providerId="ADAL" clId="{BDBEA83B-8217-4144-B266-09BC3F500E2F}" dt="2021-09-09T12:00:09.409" v="42" actId="20577"/>
          <ac:spMkLst>
            <pc:docMk/>
            <pc:sldMk cId="2106673076" sldId="291"/>
            <ac:spMk id="12" creationId="{00000000-0000-0000-0000-000000000000}"/>
          </ac:spMkLst>
        </pc:spChg>
        <pc:spChg chg="mod">
          <ac:chgData name="Lorenz, Volkhard (ext)" userId="4a27e2bf-a58c-40ac-b127-3639dd81cb37" providerId="ADAL" clId="{BDBEA83B-8217-4144-B266-09BC3F500E2F}" dt="2021-09-09T11:59:41.675" v="16" actId="20577"/>
          <ac:spMkLst>
            <pc:docMk/>
            <pc:sldMk cId="2106673076" sldId="291"/>
            <ac:spMk id="18" creationId="{00000000-0000-0000-0000-000000000000}"/>
          </ac:spMkLst>
        </pc:spChg>
        <pc:picChg chg="add mod">
          <ac:chgData name="Lorenz, Volkhard (ext)" userId="4a27e2bf-a58c-40ac-b127-3639dd81cb37" providerId="ADAL" clId="{BDBEA83B-8217-4144-B266-09BC3F500E2F}" dt="2021-09-09T12:24:57.517" v="59" actId="14100"/>
          <ac:picMkLst>
            <pc:docMk/>
            <pc:sldMk cId="2106673076" sldId="291"/>
            <ac:picMk id="3" creationId="{40945E2B-3CA3-4C0C-B443-C2631D0A2D21}"/>
          </ac:picMkLst>
        </pc:picChg>
        <pc:picChg chg="del">
          <ac:chgData name="Lorenz, Volkhard (ext)" userId="4a27e2bf-a58c-40ac-b127-3639dd81cb37" providerId="ADAL" clId="{BDBEA83B-8217-4144-B266-09BC3F500E2F}" dt="2021-09-09T11:59:53.515" v="18" actId="478"/>
          <ac:picMkLst>
            <pc:docMk/>
            <pc:sldMk cId="2106673076" sldId="291"/>
            <ac:picMk id="8" creationId="{62DADF58-F011-49E8-BDF3-DB11F83020AC}"/>
          </ac:picMkLst>
        </pc:picChg>
        <pc:picChg chg="del mod">
          <ac:chgData name="Lorenz, Volkhard (ext)" userId="4a27e2bf-a58c-40ac-b127-3639dd81cb37" providerId="ADAL" clId="{BDBEA83B-8217-4144-B266-09BC3F500E2F}" dt="2021-09-09T11:59:54.919" v="21" actId="478"/>
          <ac:picMkLst>
            <pc:docMk/>
            <pc:sldMk cId="2106673076" sldId="291"/>
            <ac:picMk id="10" creationId="{77F613C0-2E7C-451C-8E29-5460232BD7EC}"/>
          </ac:picMkLst>
        </pc:picChg>
        <pc:picChg chg="del">
          <ac:chgData name="Lorenz, Volkhard (ext)" userId="4a27e2bf-a58c-40ac-b127-3639dd81cb37" providerId="ADAL" clId="{BDBEA83B-8217-4144-B266-09BC3F500E2F}" dt="2021-09-09T11:59:54.195" v="19" actId="478"/>
          <ac:picMkLst>
            <pc:docMk/>
            <pc:sldMk cId="2106673076" sldId="291"/>
            <ac:picMk id="14" creationId="{D076B190-3241-429C-9529-1291B54ACDEC}"/>
          </ac:picMkLst>
        </pc:picChg>
        <pc:picChg chg="del mod">
          <ac:chgData name="Lorenz, Volkhard (ext)" userId="4a27e2bf-a58c-40ac-b127-3639dd81cb37" providerId="ADAL" clId="{BDBEA83B-8217-4144-B266-09BC3F500E2F}" dt="2021-09-09T11:59:55.568" v="23" actId="478"/>
          <ac:picMkLst>
            <pc:docMk/>
            <pc:sldMk cId="2106673076" sldId="291"/>
            <ac:picMk id="15" creationId="{2BE64834-A17F-41DE-BFD1-354488EB4CAA}"/>
          </ac:picMkLst>
        </pc:picChg>
        <pc:picChg chg="del">
          <ac:chgData name="Lorenz, Volkhard (ext)" userId="4a27e2bf-a58c-40ac-b127-3639dd81cb37" providerId="ADAL" clId="{BDBEA83B-8217-4144-B266-09BC3F500E2F}" dt="2021-09-09T11:59:56.956" v="24" actId="478"/>
          <ac:picMkLst>
            <pc:docMk/>
            <pc:sldMk cId="2106673076" sldId="291"/>
            <ac:picMk id="19" creationId="{449B490D-7BB5-4AB6-BAAD-64B6FA6D096B}"/>
          </ac:picMkLst>
        </pc:picChg>
        <pc:picChg chg="del">
          <ac:chgData name="Lorenz, Volkhard (ext)" userId="4a27e2bf-a58c-40ac-b127-3639dd81cb37" providerId="ADAL" clId="{BDBEA83B-8217-4144-B266-09BC3F500E2F}" dt="2021-09-09T11:59:58.043" v="25" actId="478"/>
          <ac:picMkLst>
            <pc:docMk/>
            <pc:sldMk cId="2106673076" sldId="291"/>
            <ac:picMk id="21" creationId="{7DCC5768-524F-4DA1-9EBA-85BAF2E877A1}"/>
          </ac:picMkLst>
        </pc:picChg>
      </pc:sldChg>
      <pc:sldChg chg="addSp delSp modSp mod ord modAnim">
        <pc:chgData name="Lorenz, Volkhard (ext)" userId="4a27e2bf-a58c-40ac-b127-3639dd81cb37" providerId="ADAL" clId="{BDBEA83B-8217-4144-B266-09BC3F500E2F}" dt="2021-09-09T13:29:14.284" v="255"/>
        <pc:sldMkLst>
          <pc:docMk/>
          <pc:sldMk cId="2468409739" sldId="292"/>
        </pc:sldMkLst>
        <pc:picChg chg="del">
          <ac:chgData name="Lorenz, Volkhard (ext)" userId="4a27e2bf-a58c-40ac-b127-3639dd81cb37" providerId="ADAL" clId="{BDBEA83B-8217-4144-B266-09BC3F500E2F}" dt="2021-09-09T12:26:49.685" v="60" actId="478"/>
          <ac:picMkLst>
            <pc:docMk/>
            <pc:sldMk cId="2468409739" sldId="292"/>
            <ac:picMk id="3" creationId="{40945E2B-3CA3-4C0C-B443-C2631D0A2D21}"/>
          </ac:picMkLst>
        </pc:picChg>
        <pc:picChg chg="add mod">
          <ac:chgData name="Lorenz, Volkhard (ext)" userId="4a27e2bf-a58c-40ac-b127-3639dd81cb37" providerId="ADAL" clId="{BDBEA83B-8217-4144-B266-09BC3F500E2F}" dt="2021-09-09T12:26:53.503" v="61"/>
          <ac:picMkLst>
            <pc:docMk/>
            <pc:sldMk cId="2468409739" sldId="292"/>
            <ac:picMk id="4" creationId="{CC129931-26F6-4DB0-BB79-0797A1D23C79}"/>
          </ac:picMkLst>
        </pc:picChg>
      </pc:sldChg>
      <pc:sldChg chg="addSp delSp modSp mod modAnim">
        <pc:chgData name="Lorenz, Volkhard (ext)" userId="4a27e2bf-a58c-40ac-b127-3639dd81cb37" providerId="ADAL" clId="{BDBEA83B-8217-4144-B266-09BC3F500E2F}" dt="2021-09-09T13:31:03.140" v="282" actId="1036"/>
        <pc:sldMkLst>
          <pc:docMk/>
          <pc:sldMk cId="3767845441" sldId="293"/>
        </pc:sldMkLst>
        <pc:spChg chg="add del mod">
          <ac:chgData name="Lorenz, Volkhard (ext)" userId="4a27e2bf-a58c-40ac-b127-3639dd81cb37" providerId="ADAL" clId="{BDBEA83B-8217-4144-B266-09BC3F500E2F}" dt="2021-09-09T13:30:38.373" v="277" actId="478"/>
          <ac:spMkLst>
            <pc:docMk/>
            <pc:sldMk cId="3767845441" sldId="293"/>
            <ac:spMk id="7" creationId="{00000000-0000-0000-0000-000000000000}"/>
          </ac:spMkLst>
        </pc:spChg>
        <pc:spChg chg="add del mod">
          <ac:chgData name="Lorenz, Volkhard (ext)" userId="4a27e2bf-a58c-40ac-b127-3639dd81cb37" providerId="ADAL" clId="{BDBEA83B-8217-4144-B266-09BC3F500E2F}" dt="2021-09-09T13:30:38.373" v="277" actId="478"/>
          <ac:spMkLst>
            <pc:docMk/>
            <pc:sldMk cId="3767845441" sldId="293"/>
            <ac:spMk id="11" creationId="{00000000-0000-0000-0000-000000000000}"/>
          </ac:spMkLst>
        </pc:spChg>
        <pc:spChg chg="add del mod">
          <ac:chgData name="Lorenz, Volkhard (ext)" userId="4a27e2bf-a58c-40ac-b127-3639dd81cb37" providerId="ADAL" clId="{BDBEA83B-8217-4144-B266-09BC3F500E2F}" dt="2021-09-09T13:30:38.373" v="277" actId="478"/>
          <ac:spMkLst>
            <pc:docMk/>
            <pc:sldMk cId="3767845441" sldId="293"/>
            <ac:spMk id="12" creationId="{00000000-0000-0000-0000-000000000000}"/>
          </ac:spMkLst>
        </pc:spChg>
        <pc:picChg chg="del">
          <ac:chgData name="Lorenz, Volkhard (ext)" userId="4a27e2bf-a58c-40ac-b127-3639dd81cb37" providerId="ADAL" clId="{BDBEA83B-8217-4144-B266-09BC3F500E2F}" dt="2021-09-09T12:28:36.718" v="62" actId="478"/>
          <ac:picMkLst>
            <pc:docMk/>
            <pc:sldMk cId="3767845441" sldId="293"/>
            <ac:picMk id="3" creationId="{40945E2B-3CA3-4C0C-B443-C2631D0A2D21}"/>
          </ac:picMkLst>
        </pc:picChg>
        <pc:picChg chg="add del mod">
          <ac:chgData name="Lorenz, Volkhard (ext)" userId="4a27e2bf-a58c-40ac-b127-3639dd81cb37" providerId="ADAL" clId="{BDBEA83B-8217-4144-B266-09BC3F500E2F}" dt="2021-09-09T13:31:03.140" v="282" actId="1036"/>
          <ac:picMkLst>
            <pc:docMk/>
            <pc:sldMk cId="3767845441" sldId="293"/>
            <ac:picMk id="4" creationId="{22A11243-6047-42C9-8D59-E7202F075B7F}"/>
          </ac:picMkLst>
        </pc:picChg>
        <pc:picChg chg="add del mod">
          <ac:chgData name="Lorenz, Volkhard (ext)" userId="4a27e2bf-a58c-40ac-b127-3639dd81cb37" providerId="ADAL" clId="{BDBEA83B-8217-4144-B266-09BC3F500E2F}" dt="2021-09-09T13:30:38.373" v="277" actId="478"/>
          <ac:picMkLst>
            <pc:docMk/>
            <pc:sldMk cId="3767845441" sldId="293"/>
            <ac:picMk id="6" creationId="{00000000-0000-0000-0000-000000000000}"/>
          </ac:picMkLst>
        </pc:picChg>
        <pc:picChg chg="add del mod">
          <ac:chgData name="Lorenz, Volkhard (ext)" userId="4a27e2bf-a58c-40ac-b127-3639dd81cb37" providerId="ADAL" clId="{BDBEA83B-8217-4144-B266-09BC3F500E2F}" dt="2021-09-09T13:31:03.140" v="282" actId="1036"/>
          <ac:picMkLst>
            <pc:docMk/>
            <pc:sldMk cId="3767845441" sldId="293"/>
            <ac:picMk id="8" creationId="{76F79B4D-0D4E-4D9C-A160-C7EDEA166F7D}"/>
          </ac:picMkLst>
        </pc:picChg>
        <pc:picChg chg="add del mod">
          <ac:chgData name="Lorenz, Volkhard (ext)" userId="4a27e2bf-a58c-40ac-b127-3639dd81cb37" providerId="ADAL" clId="{BDBEA83B-8217-4144-B266-09BC3F500E2F}" dt="2021-09-09T13:31:03.140" v="282" actId="1036"/>
          <ac:picMkLst>
            <pc:docMk/>
            <pc:sldMk cId="3767845441" sldId="293"/>
            <ac:picMk id="10" creationId="{7E4815AB-8781-4C3E-BFA7-B331AFCFA173}"/>
          </ac:picMkLst>
        </pc:picChg>
      </pc:sldChg>
      <pc:sldChg chg="addSp delSp modSp mod modAnim">
        <pc:chgData name="Lorenz, Volkhard (ext)" userId="4a27e2bf-a58c-40ac-b127-3639dd81cb37" providerId="ADAL" clId="{BDBEA83B-8217-4144-B266-09BC3F500E2F}" dt="2021-09-09T13:31:36.933" v="285"/>
        <pc:sldMkLst>
          <pc:docMk/>
          <pc:sldMk cId="3103532723" sldId="294"/>
        </pc:sldMkLst>
        <pc:spChg chg="add mod">
          <ac:chgData name="Lorenz, Volkhard (ext)" userId="4a27e2bf-a58c-40ac-b127-3639dd81cb37" providerId="ADAL" clId="{BDBEA83B-8217-4144-B266-09BC3F500E2F}" dt="2021-09-09T13:21:58.808" v="231" actId="207"/>
          <ac:spMkLst>
            <pc:docMk/>
            <pc:sldMk cId="3103532723" sldId="294"/>
            <ac:spMk id="5" creationId="{FA338EF9-F7CC-4F6C-BFBD-3D100B258DDE}"/>
          </ac:spMkLst>
        </pc:spChg>
        <pc:picChg chg="del mod">
          <ac:chgData name="Lorenz, Volkhard (ext)" userId="4a27e2bf-a58c-40ac-b127-3639dd81cb37" providerId="ADAL" clId="{BDBEA83B-8217-4144-B266-09BC3F500E2F}" dt="2021-09-09T13:19:09.614" v="204" actId="478"/>
          <ac:picMkLst>
            <pc:docMk/>
            <pc:sldMk cId="3103532723" sldId="294"/>
            <ac:picMk id="3" creationId="{40945E2B-3CA3-4C0C-B443-C2631D0A2D21}"/>
          </ac:picMkLst>
        </pc:picChg>
        <pc:picChg chg="add mod ord">
          <ac:chgData name="Lorenz, Volkhard (ext)" userId="4a27e2bf-a58c-40ac-b127-3639dd81cb37" providerId="ADAL" clId="{BDBEA83B-8217-4144-B266-09BC3F500E2F}" dt="2021-09-09T13:21:44.781" v="229" actId="1035"/>
          <ac:picMkLst>
            <pc:docMk/>
            <pc:sldMk cId="3103532723" sldId="294"/>
            <ac:picMk id="4" creationId="{DAE33E7D-533D-4A14-BB39-66E9E31C020B}"/>
          </ac:picMkLst>
        </pc:picChg>
      </pc:sldChg>
      <pc:sldChg chg="addSp delSp modSp mod ord delAnim">
        <pc:chgData name="Lorenz, Volkhard (ext)" userId="4a27e2bf-a58c-40ac-b127-3639dd81cb37" providerId="ADAL" clId="{BDBEA83B-8217-4144-B266-09BC3F500E2F}" dt="2021-09-09T13:31:29.957" v="284" actId="478"/>
        <pc:sldMkLst>
          <pc:docMk/>
          <pc:sldMk cId="1950723808" sldId="295"/>
        </pc:sldMkLst>
        <pc:spChg chg="del mod">
          <ac:chgData name="Lorenz, Volkhard (ext)" userId="4a27e2bf-a58c-40ac-b127-3639dd81cb37" providerId="ADAL" clId="{BDBEA83B-8217-4144-B266-09BC3F500E2F}" dt="2021-09-09T13:31:29.957" v="284" actId="478"/>
          <ac:spMkLst>
            <pc:docMk/>
            <pc:sldMk cId="1950723808" sldId="295"/>
            <ac:spMk id="18" creationId="{00000000-0000-0000-0000-000000000000}"/>
          </ac:spMkLst>
        </pc:spChg>
        <pc:picChg chg="del">
          <ac:chgData name="Lorenz, Volkhard (ext)" userId="4a27e2bf-a58c-40ac-b127-3639dd81cb37" providerId="ADAL" clId="{BDBEA83B-8217-4144-B266-09BC3F500E2F}" dt="2021-09-09T13:23:24.887" v="232" actId="478"/>
          <ac:picMkLst>
            <pc:docMk/>
            <pc:sldMk cId="1950723808" sldId="295"/>
            <ac:picMk id="3" creationId="{40945E2B-3CA3-4C0C-B443-C2631D0A2D21}"/>
          </ac:picMkLst>
        </pc:picChg>
        <pc:picChg chg="add mod">
          <ac:chgData name="Lorenz, Volkhard (ext)" userId="4a27e2bf-a58c-40ac-b127-3639dd81cb37" providerId="ADAL" clId="{BDBEA83B-8217-4144-B266-09BC3F500E2F}" dt="2021-09-09T13:23:58.211" v="237" actId="1035"/>
          <ac:picMkLst>
            <pc:docMk/>
            <pc:sldMk cId="1950723808" sldId="295"/>
            <ac:picMk id="4" creationId="{155D8915-85B6-4E86-9BDD-B0F4F657063F}"/>
          </ac:picMkLst>
        </pc:picChg>
      </pc:sldChg>
      <pc:sldChg chg="addSp delSp modSp mod modAnim">
        <pc:chgData name="Lorenz, Volkhard (ext)" userId="4a27e2bf-a58c-40ac-b127-3639dd81cb37" providerId="ADAL" clId="{BDBEA83B-8217-4144-B266-09BC3F500E2F}" dt="2021-09-09T13:31:43.950" v="286"/>
        <pc:sldMkLst>
          <pc:docMk/>
          <pc:sldMk cId="411783491" sldId="296"/>
        </pc:sldMkLst>
        <pc:spChg chg="add mod ord">
          <ac:chgData name="Lorenz, Volkhard (ext)" userId="4a27e2bf-a58c-40ac-b127-3639dd81cb37" providerId="ADAL" clId="{BDBEA83B-8217-4144-B266-09BC3F500E2F}" dt="2021-09-09T13:25:14.266" v="243" actId="171"/>
          <ac:spMkLst>
            <pc:docMk/>
            <pc:sldMk cId="411783491" sldId="296"/>
            <ac:spMk id="10" creationId="{9C712237-825B-4026-B729-964B046B039E}"/>
          </ac:spMkLst>
        </pc:spChg>
        <pc:picChg chg="del">
          <ac:chgData name="Lorenz, Volkhard (ext)" userId="4a27e2bf-a58c-40ac-b127-3639dd81cb37" providerId="ADAL" clId="{BDBEA83B-8217-4144-B266-09BC3F500E2F}" dt="2021-09-09T13:24:24.334" v="238" actId="478"/>
          <ac:picMkLst>
            <pc:docMk/>
            <pc:sldMk cId="411783491" sldId="296"/>
            <ac:picMk id="3" creationId="{40945E2B-3CA3-4C0C-B443-C2631D0A2D21}"/>
          </ac:picMkLst>
        </pc:picChg>
        <pc:picChg chg="add mod">
          <ac:chgData name="Lorenz, Volkhard (ext)" userId="4a27e2bf-a58c-40ac-b127-3639dd81cb37" providerId="ADAL" clId="{BDBEA83B-8217-4144-B266-09BC3F500E2F}" dt="2021-09-09T13:24:42.176" v="241" actId="14100"/>
          <ac:picMkLst>
            <pc:docMk/>
            <pc:sldMk cId="411783491" sldId="296"/>
            <ac:picMk id="4" creationId="{323C2E3D-45D0-4209-A810-C0B70D5DE85E}"/>
          </ac:picMkLst>
        </pc:picChg>
      </pc:sldChg>
      <pc:sldChg chg="del">
        <pc:chgData name="Lorenz, Volkhard (ext)" userId="4a27e2bf-a58c-40ac-b127-3639dd81cb37" providerId="ADAL" clId="{BDBEA83B-8217-4144-B266-09BC3F500E2F}" dt="2021-09-09T13:25:21.695" v="244" actId="47"/>
        <pc:sldMkLst>
          <pc:docMk/>
          <pc:sldMk cId="1185755794" sldId="297"/>
        </pc:sldMkLst>
      </pc:sldChg>
      <pc:sldChg chg="addSp delSp modSp mod modAnim">
        <pc:chgData name="Lorenz, Volkhard (ext)" userId="4a27e2bf-a58c-40ac-b127-3639dd81cb37" providerId="ADAL" clId="{BDBEA83B-8217-4144-B266-09BC3F500E2F}" dt="2021-09-09T13:31:47.762" v="287"/>
        <pc:sldMkLst>
          <pc:docMk/>
          <pc:sldMk cId="715561585" sldId="298"/>
        </pc:sldMkLst>
        <pc:spChg chg="add mod ord">
          <ac:chgData name="Lorenz, Volkhard (ext)" userId="4a27e2bf-a58c-40ac-b127-3639dd81cb37" providerId="ADAL" clId="{BDBEA83B-8217-4144-B266-09BC3F500E2F}" dt="2021-09-09T13:26:20.462" v="248" actId="171"/>
          <ac:spMkLst>
            <pc:docMk/>
            <pc:sldMk cId="715561585" sldId="298"/>
            <ac:spMk id="10" creationId="{C5C82618-682C-44F8-994A-899754CF8361}"/>
          </ac:spMkLst>
        </pc:spChg>
        <pc:picChg chg="del">
          <ac:chgData name="Lorenz, Volkhard (ext)" userId="4a27e2bf-a58c-40ac-b127-3639dd81cb37" providerId="ADAL" clId="{BDBEA83B-8217-4144-B266-09BC3F500E2F}" dt="2021-09-09T13:25:25.581" v="245" actId="478"/>
          <ac:picMkLst>
            <pc:docMk/>
            <pc:sldMk cId="715561585" sldId="298"/>
            <ac:picMk id="3" creationId="{40945E2B-3CA3-4C0C-B443-C2631D0A2D21}"/>
          </ac:picMkLst>
        </pc:picChg>
        <pc:picChg chg="add mod">
          <ac:chgData name="Lorenz, Volkhard (ext)" userId="4a27e2bf-a58c-40ac-b127-3639dd81cb37" providerId="ADAL" clId="{BDBEA83B-8217-4144-B266-09BC3F500E2F}" dt="2021-09-09T13:26:36.027" v="250" actId="14100"/>
          <ac:picMkLst>
            <pc:docMk/>
            <pc:sldMk cId="715561585" sldId="298"/>
            <ac:picMk id="4" creationId="{7E5C26FC-992B-48F8-90F7-FA97A7F98083}"/>
          </ac:picMkLst>
        </pc:picChg>
      </pc:sldChg>
      <pc:sldChg chg="addSp delSp modSp mod modAnim modNotes">
        <pc:chgData name="Lorenz, Volkhard (ext)" userId="4a27e2bf-a58c-40ac-b127-3639dd81cb37" providerId="ADAL" clId="{BDBEA83B-8217-4144-B266-09BC3F500E2F}" dt="2021-09-10T14:06:01.701" v="711" actId="20577"/>
        <pc:sldMkLst>
          <pc:docMk/>
          <pc:sldMk cId="2759327216" sldId="2134391514"/>
        </pc:sldMkLst>
        <pc:spChg chg="del">
          <ac:chgData name="Lorenz, Volkhard (ext)" userId="4a27e2bf-a58c-40ac-b127-3639dd81cb37" providerId="ADAL" clId="{BDBEA83B-8217-4144-B266-09BC3F500E2F}" dt="2021-09-09T13:44:36.146" v="307" actId="478"/>
          <ac:spMkLst>
            <pc:docMk/>
            <pc:sldMk cId="2759327216" sldId="2134391514"/>
            <ac:spMk id="4" creationId="{126B5A74-A928-401C-9DB9-502DB87EBB91}"/>
          </ac:spMkLst>
        </pc:spChg>
        <pc:spChg chg="add del mod">
          <ac:chgData name="Lorenz, Volkhard (ext)" userId="4a27e2bf-a58c-40ac-b127-3639dd81cb37" providerId="ADAL" clId="{BDBEA83B-8217-4144-B266-09BC3F500E2F}" dt="2021-09-09T13:44:38.096" v="308" actId="478"/>
          <ac:spMkLst>
            <pc:docMk/>
            <pc:sldMk cId="2759327216" sldId="2134391514"/>
            <ac:spMk id="5" creationId="{816ACD34-53AD-4F0A-8EE2-9B652DAADC32}"/>
          </ac:spMkLst>
        </pc:spChg>
        <pc:spChg chg="mod">
          <ac:chgData name="Lorenz, Volkhard (ext)" userId="4a27e2bf-a58c-40ac-b127-3639dd81cb37" providerId="ADAL" clId="{BDBEA83B-8217-4144-B266-09BC3F500E2F}" dt="2021-09-10T14:06:01.701" v="711" actId="20577"/>
          <ac:spMkLst>
            <pc:docMk/>
            <pc:sldMk cId="2759327216" sldId="2134391514"/>
            <ac:spMk id="13" creationId="{00000000-0000-0000-0000-000000000000}"/>
          </ac:spMkLst>
        </pc:spChg>
        <pc:spChg chg="mod">
          <ac:chgData name="Lorenz, Volkhard (ext)" userId="4a27e2bf-a58c-40ac-b127-3639dd81cb37" providerId="ADAL" clId="{BDBEA83B-8217-4144-B266-09BC3F500E2F}" dt="2021-09-09T14:07:52.054" v="651" actId="948"/>
          <ac:spMkLst>
            <pc:docMk/>
            <pc:sldMk cId="2759327216" sldId="2134391514"/>
            <ac:spMk id="14" creationId="{D273E373-1819-4B46-8FC0-DAD54F55EF8B}"/>
          </ac:spMkLst>
        </pc:spChg>
        <pc:spChg chg="add mod">
          <ac:chgData name="Lorenz, Volkhard (ext)" userId="4a27e2bf-a58c-40ac-b127-3639dd81cb37" providerId="ADAL" clId="{BDBEA83B-8217-4144-B266-09BC3F500E2F}" dt="2021-09-09T14:03:13.162" v="618" actId="122"/>
          <ac:spMkLst>
            <pc:docMk/>
            <pc:sldMk cId="2759327216" sldId="2134391514"/>
            <ac:spMk id="15" creationId="{881E425E-B1AE-4115-AE35-BA0A89165231}"/>
          </ac:spMkLst>
        </pc:spChg>
        <pc:spChg chg="mod">
          <ac:chgData name="Lorenz, Volkhard (ext)" userId="4a27e2bf-a58c-40ac-b127-3639dd81cb37" providerId="ADAL" clId="{BDBEA83B-8217-4144-B266-09BC3F500E2F}" dt="2021-09-09T14:04:00.900" v="635" actId="14100"/>
          <ac:spMkLst>
            <pc:docMk/>
            <pc:sldMk cId="2759327216" sldId="2134391514"/>
            <ac:spMk id="17" creationId="{1DC7DEE6-A70C-4825-AE7A-4C04A380C845}"/>
          </ac:spMkLst>
        </pc:spChg>
        <pc:spChg chg="mod">
          <ac:chgData name="Lorenz, Volkhard (ext)" userId="4a27e2bf-a58c-40ac-b127-3639dd81cb37" providerId="ADAL" clId="{BDBEA83B-8217-4144-B266-09BC3F500E2F}" dt="2021-09-09T14:04:00.900" v="635" actId="14100"/>
          <ac:spMkLst>
            <pc:docMk/>
            <pc:sldMk cId="2759327216" sldId="2134391514"/>
            <ac:spMk id="18" creationId="{00000000-0000-0000-0000-000000000000}"/>
          </ac:spMkLst>
        </pc:spChg>
        <pc:grpChg chg="mod">
          <ac:chgData name="Lorenz, Volkhard (ext)" userId="4a27e2bf-a58c-40ac-b127-3639dd81cb37" providerId="ADAL" clId="{BDBEA83B-8217-4144-B266-09BC3F500E2F}" dt="2021-09-09T14:04:11.373" v="643" actId="1038"/>
          <ac:grpSpMkLst>
            <pc:docMk/>
            <pc:sldMk cId="2759327216" sldId="2134391514"/>
            <ac:grpSpMk id="10" creationId="{237725EE-4FA8-4114-AA3C-5C9C17B5B459}"/>
          </ac:grpSpMkLst>
        </pc:grpChg>
        <pc:grpChg chg="mod">
          <ac:chgData name="Lorenz, Volkhard (ext)" userId="4a27e2bf-a58c-40ac-b127-3639dd81cb37" providerId="ADAL" clId="{BDBEA83B-8217-4144-B266-09BC3F500E2F}" dt="2021-09-09T13:56:05.453" v="537" actId="1037"/>
          <ac:grpSpMkLst>
            <pc:docMk/>
            <pc:sldMk cId="2759327216" sldId="2134391514"/>
            <ac:grpSpMk id="30" creationId="{A7AA1273-AB66-469E-B007-FD5DA6C89679}"/>
          </ac:grpSpMkLst>
        </pc:grpChg>
        <pc:picChg chg="add mod">
          <ac:chgData name="Lorenz, Volkhard (ext)" userId="4a27e2bf-a58c-40ac-b127-3639dd81cb37" providerId="ADAL" clId="{BDBEA83B-8217-4144-B266-09BC3F500E2F}" dt="2021-09-09T14:10:58.785" v="665" actId="14100"/>
          <ac:picMkLst>
            <pc:docMk/>
            <pc:sldMk cId="2759327216" sldId="2134391514"/>
            <ac:picMk id="6" creationId="{02554AA0-4626-464D-B6FD-0A7BDD778EFA}"/>
          </ac:picMkLst>
        </pc:picChg>
        <pc:picChg chg="add mod">
          <ac:chgData name="Lorenz, Volkhard (ext)" userId="4a27e2bf-a58c-40ac-b127-3639dd81cb37" providerId="ADAL" clId="{BDBEA83B-8217-4144-B266-09BC3F500E2F}" dt="2021-09-09T14:11:26.088" v="666" actId="14100"/>
          <ac:picMkLst>
            <pc:docMk/>
            <pc:sldMk cId="2759327216" sldId="2134391514"/>
            <ac:picMk id="19" creationId="{1F5697DC-F292-4405-90B1-A7150DDE6E74}"/>
          </ac:picMkLst>
        </pc:picChg>
        <pc:picChg chg="add mod">
          <ac:chgData name="Lorenz, Volkhard (ext)" userId="4a27e2bf-a58c-40ac-b127-3639dd81cb37" providerId="ADAL" clId="{BDBEA83B-8217-4144-B266-09BC3F500E2F}" dt="2021-09-09T14:09:35.204" v="659"/>
          <ac:picMkLst>
            <pc:docMk/>
            <pc:sldMk cId="2759327216" sldId="2134391514"/>
            <ac:picMk id="20" creationId="{F59D2E13-A62B-48AB-B20E-1C6E4AA63A69}"/>
          </ac:picMkLst>
        </pc:picChg>
      </pc:sldChg>
      <pc:sldChg chg="addSp delSp modSp new mod">
        <pc:chgData name="Lorenz, Volkhard (ext)" userId="4a27e2bf-a58c-40ac-b127-3639dd81cb37" providerId="ADAL" clId="{BDBEA83B-8217-4144-B266-09BC3F500E2F}" dt="2021-09-10T13:59:48.877" v="694" actId="1036"/>
        <pc:sldMkLst>
          <pc:docMk/>
          <pc:sldMk cId="3645486235" sldId="2134391515"/>
        </pc:sldMkLst>
        <pc:spChg chg="del">
          <ac:chgData name="Lorenz, Volkhard (ext)" userId="4a27e2bf-a58c-40ac-b127-3639dd81cb37" providerId="ADAL" clId="{BDBEA83B-8217-4144-B266-09BC3F500E2F}" dt="2021-09-10T13:59:19.653" v="686" actId="22"/>
          <ac:spMkLst>
            <pc:docMk/>
            <pc:sldMk cId="3645486235" sldId="2134391515"/>
            <ac:spMk id="3" creationId="{8137F816-41E5-4723-89A6-311F39390EAD}"/>
          </ac:spMkLst>
        </pc:spChg>
        <pc:picChg chg="add mod ord">
          <ac:chgData name="Lorenz, Volkhard (ext)" userId="4a27e2bf-a58c-40ac-b127-3639dd81cb37" providerId="ADAL" clId="{BDBEA83B-8217-4144-B266-09BC3F500E2F}" dt="2021-09-10T13:59:48.877" v="694" actId="1036"/>
          <ac:picMkLst>
            <pc:docMk/>
            <pc:sldMk cId="3645486235" sldId="2134391515"/>
            <ac:picMk id="5" creationId="{F1011F44-F348-4244-96DF-84D14345F51D}"/>
          </ac:picMkLst>
        </pc:picChg>
      </pc:sldChg>
      <pc:sldChg chg="addSp delSp modSp new mod ord">
        <pc:chgData name="Lorenz, Volkhard (ext)" userId="4a27e2bf-a58c-40ac-b127-3639dd81cb37" providerId="ADAL" clId="{BDBEA83B-8217-4144-B266-09BC3F500E2F}" dt="2021-09-10T14:09:52.580" v="715"/>
        <pc:sldMkLst>
          <pc:docMk/>
          <pc:sldMk cId="461558984" sldId="2134391516"/>
        </pc:sldMkLst>
        <pc:spChg chg="del">
          <ac:chgData name="Lorenz, Volkhard (ext)" userId="4a27e2bf-a58c-40ac-b127-3639dd81cb37" providerId="ADAL" clId="{BDBEA83B-8217-4144-B266-09BC3F500E2F}" dt="2021-09-10T14:02:02.945" v="697" actId="478"/>
          <ac:spMkLst>
            <pc:docMk/>
            <pc:sldMk cId="461558984" sldId="2134391516"/>
            <ac:spMk id="2" creationId="{52232248-12AE-49F4-9776-5EC5381FC330}"/>
          </ac:spMkLst>
        </pc:spChg>
        <pc:spChg chg="del">
          <ac:chgData name="Lorenz, Volkhard (ext)" userId="4a27e2bf-a58c-40ac-b127-3639dd81cb37" providerId="ADAL" clId="{BDBEA83B-8217-4144-B266-09BC3F500E2F}" dt="2021-09-10T14:01:58.650" v="696" actId="22"/>
          <ac:spMkLst>
            <pc:docMk/>
            <pc:sldMk cId="461558984" sldId="2134391516"/>
            <ac:spMk id="3" creationId="{6CE82CC2-A117-4E0D-8D69-EEB2A3F251F5}"/>
          </ac:spMkLst>
        </pc:spChg>
        <pc:picChg chg="add mod ord">
          <ac:chgData name="Lorenz, Volkhard (ext)" userId="4a27e2bf-a58c-40ac-b127-3639dd81cb37" providerId="ADAL" clId="{BDBEA83B-8217-4144-B266-09BC3F500E2F}" dt="2021-09-10T14:02:25.186" v="705" actId="1038"/>
          <ac:picMkLst>
            <pc:docMk/>
            <pc:sldMk cId="461558984" sldId="2134391516"/>
            <ac:picMk id="5" creationId="{E0D74EB2-0EDF-4C01-9E80-935507CBCD82}"/>
          </ac:picMkLst>
        </pc:picChg>
      </pc:sldChg>
      <pc:sldChg chg="addSp delSp new mod ord">
        <pc:chgData name="Lorenz, Volkhard (ext)" userId="4a27e2bf-a58c-40ac-b127-3639dd81cb37" providerId="ADAL" clId="{BDBEA83B-8217-4144-B266-09BC3F500E2F}" dt="2021-09-10T14:09:18.790" v="713"/>
        <pc:sldMkLst>
          <pc:docMk/>
          <pc:sldMk cId="152982586" sldId="2134391517"/>
        </pc:sldMkLst>
        <pc:spChg chg="del">
          <ac:chgData name="Lorenz, Volkhard (ext)" userId="4a27e2bf-a58c-40ac-b127-3639dd81cb37" providerId="ADAL" clId="{BDBEA83B-8217-4144-B266-09BC3F500E2F}" dt="2021-09-10T14:03:42.666" v="707" actId="478"/>
          <ac:spMkLst>
            <pc:docMk/>
            <pc:sldMk cId="152982586" sldId="2134391517"/>
            <ac:spMk id="2" creationId="{A0C0EF07-EA5F-4BBD-9E7A-36C54081BC77}"/>
          </ac:spMkLst>
        </pc:spChg>
        <pc:spChg chg="del">
          <ac:chgData name="Lorenz, Volkhard (ext)" userId="4a27e2bf-a58c-40ac-b127-3639dd81cb37" providerId="ADAL" clId="{BDBEA83B-8217-4144-B266-09BC3F500E2F}" dt="2021-09-10T14:03:45.389" v="708" actId="478"/>
          <ac:spMkLst>
            <pc:docMk/>
            <pc:sldMk cId="152982586" sldId="2134391517"/>
            <ac:spMk id="3" creationId="{85CEC463-9945-4097-A058-FF3254B76D45}"/>
          </ac:spMkLst>
        </pc:spChg>
        <pc:picChg chg="add">
          <ac:chgData name="Lorenz, Volkhard (ext)" userId="4a27e2bf-a58c-40ac-b127-3639dd81cb37" providerId="ADAL" clId="{BDBEA83B-8217-4144-B266-09BC3F500E2F}" dt="2021-09-10T14:03:47.385" v="709" actId="22"/>
          <ac:picMkLst>
            <pc:docMk/>
            <pc:sldMk cId="152982586" sldId="2134391517"/>
            <ac:picMk id="5" creationId="{A239CFE5-E5CD-47AC-B7FE-7740D326A7BA}"/>
          </ac:picMkLst>
        </pc:picChg>
      </pc:sldChg>
      <pc:sldMasterChg chg="modSldLayout">
        <pc:chgData name="Lorenz, Volkhard (ext)" userId="4a27e2bf-a58c-40ac-b127-3639dd81cb37" providerId="ADAL" clId="{BDBEA83B-8217-4144-B266-09BC3F500E2F}" dt="2021-09-09T14:02:53.684" v="616" actId="478"/>
        <pc:sldMasterMkLst>
          <pc:docMk/>
          <pc:sldMasterMk cId="1958529339" sldId="2147483648"/>
        </pc:sldMasterMkLst>
        <pc:sldLayoutChg chg="delSp modSp mod">
          <pc:chgData name="Lorenz, Volkhard (ext)" userId="4a27e2bf-a58c-40ac-b127-3639dd81cb37" providerId="ADAL" clId="{BDBEA83B-8217-4144-B266-09BC3F500E2F}" dt="2021-09-09T14:02:53.684" v="616" actId="478"/>
          <pc:sldLayoutMkLst>
            <pc:docMk/>
            <pc:sldMasterMk cId="1958529339" sldId="2147483648"/>
            <pc:sldLayoutMk cId="2360686789" sldId="2147483660"/>
          </pc:sldLayoutMkLst>
          <pc:spChg chg="del">
            <ac:chgData name="Lorenz, Volkhard (ext)" userId="4a27e2bf-a58c-40ac-b127-3639dd81cb37" providerId="ADAL" clId="{BDBEA83B-8217-4144-B266-09BC3F500E2F}" dt="2021-09-09T14:02:53.684" v="616" actId="478"/>
            <ac:spMkLst>
              <pc:docMk/>
              <pc:sldMasterMk cId="1958529339" sldId="2147483648"/>
              <pc:sldLayoutMk cId="2360686789" sldId="2147483660"/>
              <ac:spMk id="9" creationId="{05083DAC-93BB-45CC-BF60-EDB1C7988805}"/>
            </ac:spMkLst>
          </pc:spChg>
          <pc:picChg chg="del mod">
            <ac:chgData name="Lorenz, Volkhard (ext)" userId="4a27e2bf-a58c-40ac-b127-3639dd81cb37" providerId="ADAL" clId="{BDBEA83B-8217-4144-B266-09BC3F500E2F}" dt="2021-09-09T14:02:50.461" v="615" actId="478"/>
            <ac:picMkLst>
              <pc:docMk/>
              <pc:sldMasterMk cId="1958529339" sldId="2147483648"/>
              <pc:sldLayoutMk cId="2360686789" sldId="2147483660"/>
              <ac:picMk id="2" creationId="{00000000-0000-0000-0000-000000000000}"/>
            </ac:picMkLst>
          </pc:picChg>
          <pc:picChg chg="del">
            <ac:chgData name="Lorenz, Volkhard (ext)" userId="4a27e2bf-a58c-40ac-b127-3639dd81cb37" providerId="ADAL" clId="{BDBEA83B-8217-4144-B266-09BC3F500E2F}" dt="2021-09-09T14:02:48.995" v="613" actId="478"/>
            <ac:picMkLst>
              <pc:docMk/>
              <pc:sldMasterMk cId="1958529339" sldId="2147483648"/>
              <pc:sldLayoutMk cId="2360686789" sldId="2147483660"/>
              <ac:picMk id="7" creationId="{4DF6F406-4F14-421F-9DA4-80F866EB7C58}"/>
            </ac:picMkLst>
          </pc:pic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5D3E17-1AF5-4711-977D-E749A7A2CAA3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0A7BAA-ECCA-4132-9DE2-225263D873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4257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0A7BAA-ECCA-4132-9DE2-225263D873B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01238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0A7BAA-ECCA-4132-9DE2-225263D873BC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81351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A7BAA-ECCA-4132-9DE2-225263D873BC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46048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0A7BAA-ECCA-4132-9DE2-225263D873BC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52193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92213" y="1244600"/>
            <a:ext cx="4473575" cy="3355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TKTypeMedium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75675E-305E-4A7C-83A7-18D0E13F8429}" type="slidenum">
              <a:rPr lang="en-US" smtClean="0">
                <a:solidFill>
                  <a:prstClr val="black"/>
                </a:solidFill>
                <a:latin typeface="TKTypeMedium"/>
              </a:rPr>
              <a:pPr/>
              <a:t>38</a:t>
            </a:fld>
            <a:endParaRPr lang="en-US" dirty="0">
              <a:solidFill>
                <a:prstClr val="black"/>
              </a:solidFill>
              <a:latin typeface="TKTypeMedium"/>
            </a:endParaRPr>
          </a:p>
        </p:txBody>
      </p:sp>
    </p:spTree>
    <p:extLst>
      <p:ext uri="{BB962C8B-B14F-4D97-AF65-F5344CB8AC3E}">
        <p14:creationId xmlns:p14="http://schemas.microsoft.com/office/powerpoint/2010/main" val="682793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7553F-E1A4-4465-9ECE-652BE23332D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7979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7553F-E1A4-4465-9ECE-652BE23332D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0887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7553F-E1A4-4465-9ECE-652BE23332D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14314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7553F-E1A4-4465-9ECE-652BE23332D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35372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7553F-E1A4-4465-9ECE-652BE23332D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4546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7553F-E1A4-4465-9ECE-652BE23332D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10964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7553F-E1A4-4465-9ECE-652BE23332D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71494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7553F-E1A4-4465-9ECE-652BE23332D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5627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5641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9525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4888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0300" y="1316765"/>
            <a:ext cx="8748000" cy="48510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40300" y="164637"/>
            <a:ext cx="8724188" cy="960107"/>
          </a:xfrm>
        </p:spPr>
        <p:txBody>
          <a:bodyPr/>
          <a:lstStyle>
            <a:lvl1pPr>
              <a:defRPr>
                <a:solidFill>
                  <a:srgbClr val="0066A1"/>
                </a:solidFill>
              </a:defRPr>
            </a:lvl1pPr>
          </a:lstStyle>
          <a:p>
            <a:r>
              <a:rPr lang="en-US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2360686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15901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157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9826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5113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04982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2326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39356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80054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DCEFC-2ACA-4C6D-96C2-D7FEE17E243A}" type="datetimeFigureOut">
              <a:rPr lang="de-DE" smtClean="0"/>
              <a:t>10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A4FD7A-8448-4AC6-A55D-181BDD22FE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8529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microsoft.com/office/2007/relationships/hdphoto" Target="../media/hdphoto1.wdp"/><Relationship Id="rId7" Type="http://schemas.microsoft.com/office/2007/relationships/hdphoto" Target="../media/hdphoto2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11" Type="http://schemas.openxmlformats.org/officeDocument/2006/relationships/image" Target="../media/image44.jpeg"/><Relationship Id="rId5" Type="http://schemas.openxmlformats.org/officeDocument/2006/relationships/image" Target="../media/image39.jpeg"/><Relationship Id="rId10" Type="http://schemas.openxmlformats.org/officeDocument/2006/relationships/image" Target="../media/image43.jpeg"/><Relationship Id="rId4" Type="http://schemas.openxmlformats.org/officeDocument/2006/relationships/image" Target="../media/image2.jpg"/><Relationship Id="rId9" Type="http://schemas.openxmlformats.org/officeDocument/2006/relationships/image" Target="../media/image4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5.jpeg"/><Relationship Id="rId7" Type="http://schemas.openxmlformats.org/officeDocument/2006/relationships/image" Target="../media/image48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microsoft.com/office/2007/relationships/hdphoto" Target="../media/hdphoto3.wdp"/><Relationship Id="rId9" Type="http://schemas.openxmlformats.org/officeDocument/2006/relationships/image" Target="../media/image5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microsoft.com/office/2007/relationships/hdphoto" Target="../media/hdphoto1.wdp"/><Relationship Id="rId7" Type="http://schemas.openxmlformats.org/officeDocument/2006/relationships/image" Target="../media/image5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10" Type="http://schemas.openxmlformats.org/officeDocument/2006/relationships/image" Target="../media/image56.jpeg"/><Relationship Id="rId4" Type="http://schemas.openxmlformats.org/officeDocument/2006/relationships/image" Target="../media/image2.jpg"/><Relationship Id="rId9" Type="http://schemas.openxmlformats.org/officeDocument/2006/relationships/image" Target="../media/image55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microsoft.com/office/2007/relationships/hdphoto" Target="../media/hdphoto1.wdp"/><Relationship Id="rId7" Type="http://schemas.openxmlformats.org/officeDocument/2006/relationships/image" Target="../media/image5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11" Type="http://schemas.openxmlformats.org/officeDocument/2006/relationships/image" Target="../media/image62.jpeg"/><Relationship Id="rId5" Type="http://schemas.openxmlformats.org/officeDocument/2006/relationships/image" Target="../media/image29.jpeg"/><Relationship Id="rId10" Type="http://schemas.openxmlformats.org/officeDocument/2006/relationships/image" Target="../media/image61.jpeg"/><Relationship Id="rId4" Type="http://schemas.openxmlformats.org/officeDocument/2006/relationships/image" Target="../media/image2.jpg"/><Relationship Id="rId9" Type="http://schemas.openxmlformats.org/officeDocument/2006/relationships/image" Target="../media/image6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3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7.jpeg"/><Relationship Id="rId5" Type="http://schemas.openxmlformats.org/officeDocument/2006/relationships/image" Target="../media/image66.jpg"/><Relationship Id="rId4" Type="http://schemas.openxmlformats.org/officeDocument/2006/relationships/image" Target="../media/image65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8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9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0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g"/><Relationship Id="rId5" Type="http://schemas.openxmlformats.org/officeDocument/2006/relationships/image" Target="../media/image4.jpeg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1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2.jpg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microsoft.com/office/2007/relationships/hdphoto" Target="../media/hdphoto1.wdp"/><Relationship Id="rId7" Type="http://schemas.openxmlformats.org/officeDocument/2006/relationships/image" Target="../media/image7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jpeg"/><Relationship Id="rId5" Type="http://schemas.openxmlformats.org/officeDocument/2006/relationships/image" Target="../media/image74.jpeg"/><Relationship Id="rId4" Type="http://schemas.openxmlformats.org/officeDocument/2006/relationships/image" Target="../media/image2.jpg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8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4" Type="http://schemas.openxmlformats.org/officeDocument/2006/relationships/image" Target="../media/image2.jp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3" Type="http://schemas.microsoft.com/office/2007/relationships/hdphoto" Target="../media/hdphoto1.wdp"/><Relationship Id="rId7" Type="http://schemas.openxmlformats.org/officeDocument/2006/relationships/image" Target="../media/image8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jpeg"/><Relationship Id="rId5" Type="http://schemas.openxmlformats.org/officeDocument/2006/relationships/image" Target="../media/image81.jpeg"/><Relationship Id="rId4" Type="http://schemas.openxmlformats.org/officeDocument/2006/relationships/image" Target="../media/image2.jp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microsoft.com/office/2007/relationships/hdphoto" Target="../media/hdphoto1.wdp"/><Relationship Id="rId7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2.jp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microsoft.com/office/2007/relationships/hdphoto" Target="../media/hdphoto1.wdp"/><Relationship Id="rId7" Type="http://schemas.openxmlformats.org/officeDocument/2006/relationships/image" Target="../media/image9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2.jpg"/><Relationship Id="rId9" Type="http://schemas.openxmlformats.org/officeDocument/2006/relationships/image" Target="../media/image9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microsoft.com/office/2007/relationships/hdphoto" Target="../media/hdphoto1.wdp"/><Relationship Id="rId7" Type="http://schemas.openxmlformats.org/officeDocument/2006/relationships/image" Target="../media/image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2.jpg"/></Relationships>
</file>

<file path=ppt/slides/_rels/slide3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microsoft.com/office/2007/relationships/hdphoto" Target="../media/hdphoto1.wdp"/><Relationship Id="rId7" Type="http://schemas.openxmlformats.org/officeDocument/2006/relationships/image" Target="../media/image9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jpeg"/><Relationship Id="rId5" Type="http://schemas.openxmlformats.org/officeDocument/2006/relationships/image" Target="../media/image97.png"/><Relationship Id="rId4" Type="http://schemas.openxmlformats.org/officeDocument/2006/relationships/image" Target="../media/image2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3.jpeg"/><Relationship Id="rId4" Type="http://schemas.openxmlformats.org/officeDocument/2006/relationships/image" Target="../media/image10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4.jpeg"/><Relationship Id="rId5" Type="http://schemas.openxmlformats.org/officeDocument/2006/relationships/image" Target="../media/image2.jpg"/><Relationship Id="rId4" Type="http://schemas.microsoft.com/office/2007/relationships/hdphoto" Target="../media/hdphoto1.wdp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2.jp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7" Type="http://schemas.openxmlformats.org/officeDocument/2006/relationships/image" Target="../media/image111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microsoft.com/office/2007/relationships/hdphoto" Target="../media/hdphoto5.wdp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13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1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118.jpeg"/><Relationship Id="rId5" Type="http://schemas.openxmlformats.org/officeDocument/2006/relationships/image" Target="../media/image117.emf"/><Relationship Id="rId4" Type="http://schemas.openxmlformats.org/officeDocument/2006/relationships/oleObject" Target="../embeddings/oleObject2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g"/><Relationship Id="rId2" Type="http://schemas.openxmlformats.org/officeDocument/2006/relationships/image" Target="../media/image120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image" Target="../media/image9.jp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eg"/><Relationship Id="rId9" Type="http://schemas.openxmlformats.org/officeDocument/2006/relationships/image" Target="../media/image15.jp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2.jp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2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microsoft.com/office/2007/relationships/hdphoto" Target="../media/hdphoto1.wdp"/><Relationship Id="rId7" Type="http://schemas.openxmlformats.org/officeDocument/2006/relationships/image" Target="../media/image2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jpeg"/><Relationship Id="rId10" Type="http://schemas.openxmlformats.org/officeDocument/2006/relationships/image" Target="../media/image26.jpg"/><Relationship Id="rId4" Type="http://schemas.openxmlformats.org/officeDocument/2006/relationships/image" Target="../media/image2.jpg"/><Relationship Id="rId9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microsoft.com/office/2007/relationships/hdphoto" Target="../media/hdphoto1.wdp"/><Relationship Id="rId7" Type="http://schemas.openxmlformats.org/officeDocument/2006/relationships/image" Target="../media/image3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11" Type="http://schemas.openxmlformats.org/officeDocument/2006/relationships/image" Target="../media/image34.jpeg"/><Relationship Id="rId5" Type="http://schemas.openxmlformats.org/officeDocument/2006/relationships/image" Target="../media/image28.jpg"/><Relationship Id="rId10" Type="http://schemas.openxmlformats.org/officeDocument/2006/relationships/image" Target="../media/image33.jpeg"/><Relationship Id="rId4" Type="http://schemas.openxmlformats.org/officeDocument/2006/relationships/image" Target="../media/image2.jpg"/><Relationship Id="rId9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microsoft.com/office/2007/relationships/hdphoto" Target="../media/hdphoto1.wdp"/><Relationship Id="rId7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0"/>
            <a:ext cx="909338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itel 4"/>
          <p:cNvSpPr>
            <a:spLocks noGrp="1"/>
          </p:cNvSpPr>
          <p:nvPr>
            <p:ph type="ctrTitle"/>
          </p:nvPr>
        </p:nvSpPr>
        <p:spPr>
          <a:xfrm>
            <a:off x="1187624" y="230344"/>
            <a:ext cx="6101509" cy="1395729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260648"/>
            <a:ext cx="1920627" cy="1365425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/>
        </p:nvSpPr>
        <p:spPr>
          <a:xfrm>
            <a:off x="1964029" y="2348880"/>
            <a:ext cx="5014142" cy="36724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defRPr sz="2000" kern="1200" baseline="0">
                <a:solidFill>
                  <a:srgbClr val="598F1F"/>
                </a:solidFill>
                <a:latin typeface="Source Sans Pro"/>
                <a:ea typeface="+mn-ea"/>
                <a:cs typeface="Source Sans Pro"/>
              </a:defRPr>
            </a:lvl1pPr>
            <a:lvl2pPr marL="457200" indent="0" algn="ctr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/>
              <a:buNone/>
              <a:defRPr sz="2000" kern="1200" baseline="0">
                <a:solidFill>
                  <a:schemeClr val="tx1">
                    <a:tint val="75000"/>
                  </a:schemeClr>
                </a:solidFill>
                <a:latin typeface="Source Sans Pro"/>
                <a:ea typeface="+mn-ea"/>
                <a:cs typeface="Source Sans Pro"/>
              </a:defRPr>
            </a:lvl2pPr>
            <a:lvl3pPr marL="914400" indent="0" algn="ctr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/>
              <a:buNone/>
              <a:defRPr sz="2000" kern="1200" baseline="0">
                <a:solidFill>
                  <a:schemeClr val="tx1">
                    <a:tint val="75000"/>
                  </a:schemeClr>
                </a:solidFill>
                <a:latin typeface="Source Sans Pro"/>
                <a:ea typeface="+mn-ea"/>
                <a:cs typeface="Source Sans Pro"/>
              </a:defRPr>
            </a:lvl3pPr>
            <a:lvl4pPr marL="1371600" indent="0" algn="ctr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Arial"/>
              <a:buNone/>
              <a:defRPr sz="2000" kern="1200" baseline="0">
                <a:solidFill>
                  <a:schemeClr val="tx1">
                    <a:tint val="75000"/>
                  </a:schemeClr>
                </a:solidFill>
                <a:latin typeface="Source Sans Pro"/>
                <a:ea typeface="+mn-ea"/>
                <a:cs typeface="Source Sans Pro"/>
              </a:defRPr>
            </a:lvl4pPr>
            <a:lvl5pPr marL="1828800" indent="0" algn="ctr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/>
              <a:buNone/>
              <a:defRPr sz="2000" kern="1200" baseline="0">
                <a:solidFill>
                  <a:schemeClr val="tx1">
                    <a:tint val="75000"/>
                  </a:schemeClr>
                </a:solidFill>
                <a:latin typeface="Source Sans Pro"/>
                <a:ea typeface="+mn-ea"/>
                <a:cs typeface="Source Sans Pro"/>
              </a:defRPr>
            </a:lvl5pPr>
            <a:lvl6pPr marL="2286000" indent="0" algn="ctr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8B4"/>
              </a:buClr>
              <a:buSzPct val="85000"/>
              <a:buFont typeface="Arial" pitchFamily="34" charset="0"/>
              <a:buNone/>
              <a:tabLst/>
              <a:defRPr/>
            </a:pPr>
            <a:r>
              <a:rPr kumimoji="0" lang="de-DE" sz="2000" b="1" i="0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"/>
                <a:ea typeface="+mn-ea"/>
              </a:rPr>
              <a:t>Tagesordnu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8B4"/>
              </a:buClr>
              <a:buSzPct val="85000"/>
              <a:buFont typeface="Arial" pitchFamily="34" charset="0"/>
              <a:buNone/>
              <a:tabLst/>
              <a:defRPr/>
            </a:pPr>
            <a:endParaRPr kumimoji="0" lang="de-DE" sz="2000" b="1" i="0" u="sng" strike="noStrike" kern="1200" cap="none" spc="0" normalizeH="0" baseline="0" noProof="0" dirty="0">
              <a:ln>
                <a:noFill/>
              </a:ln>
              <a:solidFill>
                <a:srgbClr val="0068B4"/>
              </a:solidFill>
              <a:effectLst/>
              <a:uLnTx/>
              <a:uFillTx/>
              <a:latin typeface="Source Sans Pro"/>
              <a:ea typeface="+mn-ea"/>
            </a:endParaRP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8B4"/>
              </a:buClr>
              <a:buSzPct val="85000"/>
              <a:buFont typeface="Arial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"/>
                <a:ea typeface="+mn-ea"/>
              </a:rPr>
              <a:t>Begrüßung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ource Sans Pro"/>
              <a:ea typeface="+mn-ea"/>
            </a:endParaRP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8B4"/>
              </a:buClr>
              <a:buSzPct val="85000"/>
              <a:buFont typeface="Arial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"/>
                <a:ea typeface="+mn-ea"/>
              </a:rPr>
              <a:t>Tätigkeitsbericht 2020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8B4"/>
              </a:buClr>
              <a:buSzPct val="85000"/>
              <a:buFont typeface="Arial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"/>
                <a:ea typeface="+mn-ea"/>
              </a:rPr>
              <a:t>Kassenbericht 2020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8B4"/>
              </a:buClr>
              <a:buSzPct val="85000"/>
              <a:buFont typeface="Arial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"/>
                <a:ea typeface="+mn-ea"/>
              </a:rPr>
              <a:t>Bericht der Kassenprüfer</a:t>
            </a:r>
          </a:p>
          <a:p>
            <a:pPr marL="571500" indent="-571500">
              <a:buClr>
                <a:srgbClr val="0068B4"/>
              </a:buClr>
              <a:buFont typeface="Arial" pitchFamily="34" charset="0"/>
              <a:buChar char="•"/>
              <a:defRPr/>
            </a:pPr>
            <a:r>
              <a:rPr lang="de-DE" sz="1600" dirty="0">
                <a:solidFill>
                  <a:schemeClr val="tx1"/>
                </a:solidFill>
              </a:rPr>
              <a:t>Aussprache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8B4"/>
              </a:buClr>
              <a:buSzPct val="85000"/>
              <a:buFont typeface="Arial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"/>
                <a:ea typeface="+mn-ea"/>
              </a:rPr>
              <a:t>Entlastung des Vorstandes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8B4"/>
              </a:buClr>
              <a:buSzPct val="85000"/>
              <a:buFont typeface="Arial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ource Sans Pro"/>
                <a:ea typeface="+mn-ea"/>
              </a:rPr>
              <a:t>Verschiede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8B4"/>
              </a:buClr>
              <a:buSzPct val="85000"/>
              <a:buFont typeface="Arial" pitchFamily="34" charset="0"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0068B4"/>
              </a:solidFill>
              <a:effectLst/>
              <a:uLnTx/>
              <a:uFillTx/>
              <a:latin typeface="Source Sans Pro"/>
              <a:ea typeface="+mn-ea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0" t="9214" r="15188" b="8839"/>
          <a:stretch/>
        </p:blipFill>
        <p:spPr>
          <a:xfrm>
            <a:off x="5626057" y="2852936"/>
            <a:ext cx="2997329" cy="216024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693216" y="5016762"/>
            <a:ext cx="96212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Foto: unbekannt</a:t>
            </a:r>
          </a:p>
        </p:txBody>
      </p:sp>
    </p:spTree>
    <p:extLst>
      <p:ext uri="{BB962C8B-B14F-4D97-AF65-F5344CB8AC3E}">
        <p14:creationId xmlns:p14="http://schemas.microsoft.com/office/powerpoint/2010/main" val="23190210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Titel 5"/>
          <p:cNvSpPr>
            <a:spLocks noGrp="1"/>
          </p:cNvSpPr>
          <p:nvPr>
            <p:ph type="title"/>
          </p:nvPr>
        </p:nvSpPr>
        <p:spPr>
          <a:xfrm>
            <a:off x="467544" y="1628800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757781" y="2564904"/>
            <a:ext cx="7628435" cy="39703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effectLst/>
                <a:latin typeface="ArialMT"/>
                <a:ea typeface="Calibri"/>
                <a:cs typeface="ArialMT"/>
              </a:rPr>
              <a:t>Fledermausschutz (Daniel)</a:t>
            </a:r>
          </a:p>
          <a:p>
            <a:r>
              <a:rPr lang="de-DE" dirty="0">
                <a:latin typeface="ArialMT"/>
                <a:ea typeface="Calibri"/>
                <a:cs typeface="ArialMT"/>
              </a:rPr>
              <a:t>	+</a:t>
            </a:r>
            <a:r>
              <a:rPr lang="de-DE" dirty="0"/>
              <a:t> Fledermausschutzprojekt Oppenheimer Wäldchen und Landskrone</a:t>
            </a:r>
            <a:r>
              <a:rPr lang="de-DE" dirty="0">
                <a:effectLst/>
                <a:latin typeface="ArialMT"/>
                <a:ea typeface="Calibri"/>
                <a:cs typeface="ArialMT"/>
              </a:rPr>
              <a:t> </a:t>
            </a:r>
          </a:p>
          <a:p>
            <a:r>
              <a:rPr lang="de-DE" dirty="0">
                <a:latin typeface="ArialMT"/>
              </a:rPr>
              <a:t>	+ </a:t>
            </a:r>
            <a:r>
              <a:rPr lang="de-DE" dirty="0"/>
              <a:t>Hallenbad Oppenheim</a:t>
            </a:r>
          </a:p>
          <a:p>
            <a:r>
              <a:rPr lang="de-DE" dirty="0"/>
              <a:t>	+ Fledermausauszeichnung in Oppenheim 13.08.2020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82" y="4005063"/>
            <a:ext cx="1637927" cy="2183903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Diffused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56" y="3825101"/>
            <a:ext cx="1296144" cy="863461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731"/>
          <a:stretch/>
        </p:blipFill>
        <p:spPr>
          <a:xfrm>
            <a:off x="5220072" y="5167555"/>
            <a:ext cx="1411608" cy="102141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27" b="25896"/>
          <a:stretch/>
        </p:blipFill>
        <p:spPr>
          <a:xfrm>
            <a:off x="6819106" y="5167555"/>
            <a:ext cx="1557759" cy="1021411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" t="7620" r="-372" b="32172"/>
          <a:stretch/>
        </p:blipFill>
        <p:spPr>
          <a:xfrm>
            <a:off x="7092882" y="3569670"/>
            <a:ext cx="1283983" cy="137432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8491" y="4731951"/>
            <a:ext cx="2190871" cy="1457015"/>
          </a:xfrm>
          <a:prstGeom prst="rect">
            <a:avLst/>
          </a:prstGeom>
        </p:spPr>
      </p:pic>
      <p:sp>
        <p:nvSpPr>
          <p:cNvPr id="15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9114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clrChange>
              <a:clrFrom>
                <a:srgbClr val="FBFCFE"/>
              </a:clrFrom>
              <a:clrTo>
                <a:srgbClr val="FBFC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Diffused intensity="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5" y="1988840"/>
            <a:ext cx="7560839" cy="4608512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467544" y="2357868"/>
            <a:ext cx="7848871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Auszeichnung im Rahmen der Aktion "Schwalben willkommen"  Paul</a:t>
            </a:r>
          </a:p>
          <a:p>
            <a:r>
              <a:rPr lang="de-DE" dirty="0"/>
              <a:t>	</a:t>
            </a:r>
          </a:p>
          <a:p>
            <a:endParaRPr lang="de-DE" dirty="0"/>
          </a:p>
          <a:p>
            <a:r>
              <a:rPr lang="de-DE" dirty="0"/>
              <a:t>	+ Ludwigshöhe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		</a:t>
            </a:r>
          </a:p>
          <a:p>
            <a:r>
              <a:rPr lang="de-DE" dirty="0"/>
              <a:t>			+ Dolgesheim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		</a:t>
            </a:r>
          </a:p>
          <a:p>
            <a:r>
              <a:rPr lang="de-DE" dirty="0"/>
              <a:t>					+ Nierstei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0" r="14939" b="5986"/>
          <a:stretch/>
        </p:blipFill>
        <p:spPr>
          <a:xfrm>
            <a:off x="4749263" y="3946802"/>
            <a:ext cx="1898748" cy="121039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427" y="4933110"/>
            <a:ext cx="2007987" cy="132950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7144" y="2276872"/>
            <a:ext cx="1302825" cy="1296144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5229200"/>
            <a:ext cx="1884636" cy="1256424"/>
          </a:xfrm>
          <a:prstGeom prst="rect">
            <a:avLst/>
          </a:prstGeom>
        </p:spPr>
      </p:pic>
      <p:sp>
        <p:nvSpPr>
          <p:cNvPr id="7" name="Titel 5"/>
          <p:cNvSpPr>
            <a:spLocks noGrp="1"/>
          </p:cNvSpPr>
          <p:nvPr>
            <p:ph type="title"/>
          </p:nvPr>
        </p:nvSpPr>
        <p:spPr>
          <a:xfrm>
            <a:off x="467544" y="1781944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15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2924944"/>
            <a:ext cx="1956922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1328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EDE0BE"/>
              </a:clrFrom>
              <a:clrTo>
                <a:srgbClr val="EDE0B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Titel 5"/>
          <p:cNvSpPr>
            <a:spLocks noGrp="1"/>
          </p:cNvSpPr>
          <p:nvPr>
            <p:ph type="title"/>
          </p:nvPr>
        </p:nvSpPr>
        <p:spPr>
          <a:xfrm>
            <a:off x="467544" y="1628800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043608" y="2708920"/>
            <a:ext cx="5447069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u="sng" dirty="0">
                <a:effectLst/>
                <a:latin typeface="ArialMT"/>
                <a:ea typeface="Calibri"/>
                <a:cs typeface="ArialMT"/>
              </a:rPr>
              <a:t>Kauf eines Grundstückes</a:t>
            </a:r>
          </a:p>
          <a:p>
            <a:endParaRPr lang="de-DE" dirty="0">
              <a:effectLst/>
              <a:latin typeface="ArialMT"/>
              <a:ea typeface="Calibri"/>
              <a:cs typeface="ArialMT"/>
            </a:endParaRPr>
          </a:p>
          <a:p>
            <a:r>
              <a:rPr lang="de-DE" dirty="0"/>
              <a:t>+ in Friesenheim Projekt </a:t>
            </a:r>
            <a:r>
              <a:rPr lang="de-DE" dirty="0" err="1"/>
              <a:t>Steinkauzwiese</a:t>
            </a:r>
            <a:r>
              <a:rPr lang="de-DE" dirty="0"/>
              <a:t> 2020 (Lothar)</a:t>
            </a:r>
          </a:p>
          <a:p>
            <a:r>
              <a:rPr lang="de-DE" dirty="0"/>
              <a:t>+ in Oppenheim Projekt Hirschkäferwald 2021 (Andreas)</a:t>
            </a:r>
          </a:p>
          <a:p>
            <a:r>
              <a:rPr lang="de-DE" dirty="0"/>
              <a:t>	</a:t>
            </a:r>
            <a:r>
              <a:rPr lang="de-DE" u="sng" dirty="0"/>
              <a:t>11.09.2021 Aufräumaktion HKW</a:t>
            </a:r>
          </a:p>
          <a:p>
            <a:r>
              <a:rPr lang="de-DE" dirty="0">
                <a:effectLst/>
                <a:latin typeface="ArialMT"/>
                <a:ea typeface="Calibri"/>
                <a:cs typeface="ArialMT"/>
              </a:rPr>
              <a:t> 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2105" y="4382308"/>
            <a:ext cx="1343751" cy="1791668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5774" y="4420307"/>
            <a:ext cx="1279595" cy="170612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011" y="2586122"/>
            <a:ext cx="2366940" cy="1685756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1610" y="5248432"/>
            <a:ext cx="774592" cy="78149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26" t="37262" r="15050" b="3976"/>
          <a:stretch/>
        </p:blipFill>
        <p:spPr>
          <a:xfrm rot="20751403">
            <a:off x="1259232" y="4532946"/>
            <a:ext cx="689249" cy="1260994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336" y="4687705"/>
            <a:ext cx="554291" cy="1171332"/>
          </a:xfrm>
          <a:prstGeom prst="rect">
            <a:avLst/>
          </a:prstGeom>
        </p:spPr>
      </p:pic>
      <p:sp>
        <p:nvSpPr>
          <p:cNvPr id="14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6717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DDDFDC"/>
              </a:clrFrom>
              <a:clrTo>
                <a:srgbClr val="DDDFDC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Titel 5"/>
          <p:cNvSpPr>
            <a:spLocks noGrp="1"/>
          </p:cNvSpPr>
          <p:nvPr>
            <p:ph type="title"/>
          </p:nvPr>
        </p:nvSpPr>
        <p:spPr>
          <a:xfrm>
            <a:off x="467544" y="1628800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395536" y="2636912"/>
            <a:ext cx="7848872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effectLst/>
                <a:latin typeface="ArialMT"/>
                <a:ea typeface="Calibri"/>
                <a:cs typeface="ArialMT"/>
              </a:rPr>
              <a:t>Zusammenarbeit mit Kommunen und Stiftungen</a:t>
            </a:r>
          </a:p>
          <a:p>
            <a:endParaRPr lang="de-DE" dirty="0">
              <a:latin typeface="ArialMT"/>
            </a:endParaRPr>
          </a:p>
          <a:p>
            <a:r>
              <a:rPr lang="de-DE" dirty="0"/>
              <a:t>	+ Verbandsgemeinde RS/Stadt Oppenheim/Stadt Nierstein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+ Stiftung Natur und Umwelt (SNU) 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+ Struktur und Genehmigungsdirektion (SGD) Süd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+ Kreisverwaltung Mainz-Bingen - Selzverband </a:t>
            </a:r>
          </a:p>
          <a:p>
            <a:r>
              <a:rPr lang="de-DE" dirty="0"/>
              <a:t>   	   (Untere Naturschutzbehörde / UNB)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2634" y="3915312"/>
            <a:ext cx="2365917" cy="540576"/>
          </a:xfrm>
          <a:prstGeom prst="rect">
            <a:avLst/>
          </a:prstGeom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4718948"/>
            <a:ext cx="1631157" cy="713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2" b="7683"/>
          <a:stretch/>
        </p:blipFill>
        <p:spPr bwMode="auto">
          <a:xfrm>
            <a:off x="6084168" y="5589240"/>
            <a:ext cx="1170511" cy="731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189" y="2786907"/>
            <a:ext cx="1243543" cy="392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646" y="3095248"/>
            <a:ext cx="564654" cy="564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uppieren 9"/>
          <p:cNvGrpSpPr/>
          <p:nvPr/>
        </p:nvGrpSpPr>
        <p:grpSpPr>
          <a:xfrm>
            <a:off x="7610734" y="3284984"/>
            <a:ext cx="540434" cy="684386"/>
            <a:chOff x="7610734" y="3284984"/>
            <a:chExt cx="540434" cy="684386"/>
          </a:xfrm>
        </p:grpSpPr>
        <p:pic>
          <p:nvPicPr>
            <p:cNvPr id="4103" name="Picture 7"/>
            <p:cNvPicPr>
              <a:picLocks noChangeAspect="1" noChangeArrowheads="1"/>
            </p:cNvPicPr>
            <p:nvPr/>
          </p:nvPicPr>
          <p:blipFill rotWithShape="1">
            <a:blip r:embed="rId10" cstate="print">
              <a:clrChange>
                <a:clrFrom>
                  <a:srgbClr val="E8EAE7"/>
                </a:clrFrom>
                <a:clrTo>
                  <a:srgbClr val="E8EAE7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511" t="-1" r="20612" b="74002"/>
            <a:stretch/>
          </p:blipFill>
          <p:spPr bwMode="auto">
            <a:xfrm>
              <a:off x="7610734" y="3284984"/>
              <a:ext cx="540434" cy="144016"/>
            </a:xfrm>
            <a:prstGeom prst="rect">
              <a:avLst/>
            </a:prstGeom>
            <a:solidFill>
              <a:srgbClr val="4F81BD">
                <a:alpha val="0"/>
              </a:srgbClr>
            </a:solidFill>
            <a:ln>
              <a:noFill/>
            </a:ln>
          </p:spPr>
        </p:pic>
        <p:pic>
          <p:nvPicPr>
            <p:cNvPr id="4104" name="Picture 8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2497" y="3397671"/>
              <a:ext cx="476811" cy="5716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220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-gei_000\Documents\NABU\Verwaltung\Logo Nabu rhein-Selz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1" y="6052439"/>
            <a:ext cx="971727" cy="709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6857997"/>
            <a:ext cx="9144000" cy="45719"/>
          </a:xfrm>
          <a:prstGeom prst="rect">
            <a:avLst/>
          </a:prstGeom>
          <a:solidFill>
            <a:srgbClr val="2D5AB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003399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8066736" y="6482282"/>
            <a:ext cx="944742" cy="327616"/>
          </a:xfrm>
        </p:spPr>
        <p:txBody>
          <a:bodyPr/>
          <a:lstStyle/>
          <a:p>
            <a:fld id="{A194A020-4CA0-406A-A67A-4447F3C5548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.09.202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4388889" y="6481048"/>
            <a:ext cx="1188349" cy="297446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Volkhard Lorenz</a:t>
            </a:r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2771800" y="170966"/>
            <a:ext cx="4932548" cy="297446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4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975" b="1" i="1" dirty="0">
                <a:solidFill>
                  <a:srgbClr val="002060"/>
                </a:solidFill>
                <a:latin typeface="Source Sans Pro"/>
              </a:rPr>
              <a:t>Selztalbeweidung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C129931-26F6-4DB0-BB79-0797A1D23C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725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40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-gei_000\Documents\NABU\Verwaltung\Logo Nabu rhein-Selz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1" y="6052439"/>
            <a:ext cx="971727" cy="709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6857997"/>
            <a:ext cx="9144000" cy="45719"/>
          </a:xfrm>
          <a:prstGeom prst="rect">
            <a:avLst/>
          </a:prstGeom>
          <a:solidFill>
            <a:srgbClr val="2D5AB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003399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8066736" y="6482282"/>
            <a:ext cx="944742" cy="327616"/>
          </a:xfrm>
        </p:spPr>
        <p:txBody>
          <a:bodyPr/>
          <a:lstStyle/>
          <a:p>
            <a:fld id="{A194A020-4CA0-406A-A67A-4447F3C5548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.09.202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4388889" y="6481048"/>
            <a:ext cx="1188349" cy="297446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Volkhard Lorenz</a:t>
            </a:r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2771800" y="170966"/>
            <a:ext cx="4932548" cy="297446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4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975" b="1" i="1" dirty="0">
                <a:solidFill>
                  <a:srgbClr val="002060"/>
                </a:solidFill>
                <a:latin typeface="Source Sans Pro"/>
              </a:rPr>
              <a:t>Selztalbeweidung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0945E2B-3CA3-4C0C-B443-C2631D0A2D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8780" y="4328"/>
            <a:ext cx="9152780" cy="6953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67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-gei_000\Documents\NABU\Verwaltung\Logo Nabu rhein-Selz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1" y="6052439"/>
            <a:ext cx="971727" cy="709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6857997"/>
            <a:ext cx="9144000" cy="45719"/>
          </a:xfrm>
          <a:prstGeom prst="rect">
            <a:avLst/>
          </a:prstGeom>
          <a:solidFill>
            <a:srgbClr val="2D5AB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003399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8066736" y="6482282"/>
            <a:ext cx="944742" cy="327616"/>
          </a:xfrm>
        </p:spPr>
        <p:txBody>
          <a:bodyPr/>
          <a:lstStyle/>
          <a:p>
            <a:fld id="{A194A020-4CA0-406A-A67A-4447F3C5548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.09.202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4388889" y="6481048"/>
            <a:ext cx="1188349" cy="297446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Volkhard Lorenz</a:t>
            </a:r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2771800" y="170966"/>
            <a:ext cx="4932548" cy="297446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4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975" b="1" i="1" dirty="0">
                <a:solidFill>
                  <a:srgbClr val="002060"/>
                </a:solidFill>
                <a:latin typeface="Source Sans Pro"/>
              </a:rPr>
              <a:t>Selztalbeweidung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2A11243-6047-42C9-8D59-E7202F075B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1" y="529715"/>
            <a:ext cx="3589566" cy="638145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6F79B4D-0D4E-4D9C-A160-C7EDEA166F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053" y="529715"/>
            <a:ext cx="5590162" cy="322884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E4815AB-8781-4C3E-BFA7-B331AFCFA1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775902" y="2535711"/>
            <a:ext cx="3144465" cy="559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845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-gei_000\Documents\NABU\Verwaltung\Logo Nabu rhein-Selz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1" y="6052439"/>
            <a:ext cx="971727" cy="709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6857997"/>
            <a:ext cx="9144000" cy="45719"/>
          </a:xfrm>
          <a:prstGeom prst="rect">
            <a:avLst/>
          </a:prstGeom>
          <a:solidFill>
            <a:srgbClr val="2D5AB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003399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8066736" y="6482282"/>
            <a:ext cx="944742" cy="327616"/>
          </a:xfrm>
        </p:spPr>
        <p:txBody>
          <a:bodyPr/>
          <a:lstStyle/>
          <a:p>
            <a:fld id="{A194A020-4CA0-406A-A67A-4447F3C5548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.09.202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4388889" y="6481048"/>
            <a:ext cx="1188349" cy="297446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Volkhard Lorenz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55D8915-85B6-4E86-9BDD-B0F4F65706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704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72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-gei_000\Documents\NABU\Verwaltung\Logo Nabu rhein-Selz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1" y="6052439"/>
            <a:ext cx="971727" cy="709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6857997"/>
            <a:ext cx="9144000" cy="45719"/>
          </a:xfrm>
          <a:prstGeom prst="rect">
            <a:avLst/>
          </a:prstGeom>
          <a:solidFill>
            <a:srgbClr val="2D5AB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003399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8066736" y="6482282"/>
            <a:ext cx="944742" cy="327616"/>
          </a:xfrm>
        </p:spPr>
        <p:txBody>
          <a:bodyPr/>
          <a:lstStyle/>
          <a:p>
            <a:fld id="{A194A020-4CA0-406A-A67A-4447F3C5548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.09.202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4388889" y="6481048"/>
            <a:ext cx="1188349" cy="297446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Volkhard Lorenz</a:t>
            </a:r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2771800" y="170966"/>
            <a:ext cx="4932548" cy="297446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4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975" b="1" i="1" dirty="0">
                <a:solidFill>
                  <a:srgbClr val="002060"/>
                </a:solidFill>
                <a:latin typeface="Source Sans Pro"/>
              </a:rPr>
              <a:t>Selztalbeweidung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FA338EF9-F7CC-4F6C-BFBD-3D100B258DDE}"/>
              </a:ext>
            </a:extLst>
          </p:cNvPr>
          <p:cNvSpPr/>
          <p:nvPr/>
        </p:nvSpPr>
        <p:spPr>
          <a:xfrm>
            <a:off x="13930" y="0"/>
            <a:ext cx="9144000" cy="690371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AE33E7D-533D-4A14-BB39-66E9E31C02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872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53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-gei_000\Documents\NABU\Verwaltung\Logo Nabu rhein-Selz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1" y="6052439"/>
            <a:ext cx="971727" cy="709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6857997"/>
            <a:ext cx="9144000" cy="45719"/>
          </a:xfrm>
          <a:prstGeom prst="rect">
            <a:avLst/>
          </a:prstGeom>
          <a:solidFill>
            <a:srgbClr val="2D5AB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003399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8066736" y="6482282"/>
            <a:ext cx="944742" cy="327616"/>
          </a:xfrm>
        </p:spPr>
        <p:txBody>
          <a:bodyPr/>
          <a:lstStyle/>
          <a:p>
            <a:fld id="{A194A020-4CA0-406A-A67A-4447F3C5548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.09.202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4388889" y="6481048"/>
            <a:ext cx="1188349" cy="297446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Volkhard Lorenz</a:t>
            </a:r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2771800" y="170966"/>
            <a:ext cx="4932548" cy="297446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4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975" b="1" i="1" dirty="0">
                <a:solidFill>
                  <a:srgbClr val="002060"/>
                </a:solidFill>
                <a:latin typeface="Source Sans Pro"/>
              </a:rPr>
              <a:t>Selztalbeweid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C712237-825B-4026-B729-964B046B039E}"/>
              </a:ext>
            </a:extLst>
          </p:cNvPr>
          <p:cNvSpPr/>
          <p:nvPr/>
        </p:nvSpPr>
        <p:spPr>
          <a:xfrm>
            <a:off x="13930" y="0"/>
            <a:ext cx="9144000" cy="690371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23C2E3D-45D0-4209-A810-C0B70D5DE8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7250"/>
            <a:ext cx="9150382" cy="5147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8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0"/>
            <a:ext cx="909338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965245" y="2060848"/>
            <a:ext cx="724922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/>
          </a:p>
          <a:p>
            <a:r>
              <a:rPr lang="de-DE" sz="1200" b="1" u="sng" dirty="0"/>
              <a:t>Gründung der „NABU“ - Gruppe 1977</a:t>
            </a:r>
          </a:p>
          <a:p>
            <a:endParaRPr lang="de-DE" b="1" u="sng" dirty="0"/>
          </a:p>
          <a:p>
            <a:r>
              <a:rPr lang="de-DE" sz="1200" dirty="0"/>
              <a:t>1967 Gründung einer Vogelschutzgruppe im Deutschen Bund für Vogelschutz (DBV) Nierstein - Oppenheim - Guntersblum, mit der Idee einer Vogel- u. Naturschutzgruppe</a:t>
            </a:r>
          </a:p>
          <a:p>
            <a:endParaRPr lang="de-DE" sz="1200" dirty="0"/>
          </a:p>
          <a:p>
            <a:r>
              <a:rPr lang="de-DE" sz="1200" dirty="0"/>
              <a:t>	+ 15.10.77  Einladung zur Gründung eines Vogelschutzvereines in Oppenheim in der Presse</a:t>
            </a:r>
          </a:p>
          <a:p>
            <a:r>
              <a:rPr lang="de-DE" sz="1200" dirty="0"/>
              <a:t>	+ Zwölf Interessierte waren anwesend </a:t>
            </a:r>
          </a:p>
          <a:p>
            <a:r>
              <a:rPr lang="de-DE" sz="1200" dirty="0"/>
              <a:t>	+ Thema: Vogelzucht nicht Vogelschutz, Naturschutz nicht Gegenstand der Veranstaltung</a:t>
            </a:r>
          </a:p>
          <a:p>
            <a:r>
              <a:rPr lang="de-DE" sz="1200" dirty="0"/>
              <a:t>	+ Mehrheit lehnte dies ab</a:t>
            </a:r>
          </a:p>
          <a:p>
            <a:r>
              <a:rPr lang="de-DE" sz="1200" dirty="0"/>
              <a:t>	+ Diskussion über regionale oder überregionale Organisation</a:t>
            </a:r>
          </a:p>
          <a:p>
            <a:r>
              <a:rPr lang="de-DE" sz="1200" dirty="0"/>
              <a:t>	+ Kontakt zum DBV</a:t>
            </a:r>
          </a:p>
          <a:p>
            <a:r>
              <a:rPr lang="de-DE" sz="1200" dirty="0"/>
              <a:t>	+ </a:t>
            </a:r>
            <a:r>
              <a:rPr lang="de-DE" sz="1200" b="1" dirty="0"/>
              <a:t>10.12.1977</a:t>
            </a:r>
            <a:r>
              <a:rPr lang="de-DE" sz="1200" dirty="0"/>
              <a:t>. erneutes Treffen im Altenzentrum der Stiftung Zivilhospital Oppenheim</a:t>
            </a:r>
          </a:p>
          <a:p>
            <a:r>
              <a:rPr lang="de-DE" sz="1200" dirty="0"/>
              <a:t>	+ Vertreter des DBV Rheinhessen anwesend</a:t>
            </a:r>
          </a:p>
          <a:p>
            <a:r>
              <a:rPr lang="de-DE" sz="1200" dirty="0"/>
              <a:t>	+ Entscheid: </a:t>
            </a:r>
            <a:r>
              <a:rPr lang="de-DE" sz="1200" b="1" dirty="0"/>
              <a:t>Gründung einer Ortsgruppe </a:t>
            </a:r>
            <a:r>
              <a:rPr lang="de-DE" sz="1200" dirty="0"/>
              <a:t>auf der Ebene 2er Verbandsgemeinden</a:t>
            </a:r>
          </a:p>
          <a:p>
            <a:r>
              <a:rPr lang="de-DE" sz="1200" dirty="0"/>
              <a:t>	+ Aufgaben: Naturschutz im Sinne von:</a:t>
            </a:r>
          </a:p>
          <a:p>
            <a:r>
              <a:rPr lang="de-DE" sz="1200" dirty="0"/>
              <a:t>	++ Landschaftsschutz</a:t>
            </a:r>
          </a:p>
          <a:p>
            <a:r>
              <a:rPr lang="de-DE" sz="1200" dirty="0"/>
              <a:t>	++ Landschaftspflege</a:t>
            </a:r>
          </a:p>
          <a:p>
            <a:r>
              <a:rPr lang="de-DE" sz="1200" dirty="0"/>
              <a:t>	++ Schutz der natürlichen Lebensräume</a:t>
            </a:r>
          </a:p>
          <a:p>
            <a:r>
              <a:rPr lang="de-DE" sz="1200" dirty="0"/>
              <a:t>	++ Übertragung von Verantwortlichkeiten nach Neigung der Mitglieder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7092280" y="4681829"/>
            <a:ext cx="919092" cy="1225456"/>
            <a:chOff x="7325315" y="4956377"/>
            <a:chExt cx="919092" cy="1225456"/>
          </a:xfrm>
        </p:grpSpPr>
        <p:pic>
          <p:nvPicPr>
            <p:cNvPr id="1028" name="Picture 4" descr="C:\Users\jugen\AppData\Local\Microsoft\Windows\INetCache\IE\ULCTN5TI\certificate-70844_960_720[1]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5315" y="4956377"/>
              <a:ext cx="919092" cy="12254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feld 4"/>
            <p:cNvSpPr txBox="1"/>
            <p:nvPr/>
          </p:nvSpPr>
          <p:spPr>
            <a:xfrm>
              <a:off x="7380312" y="5445224"/>
              <a:ext cx="8640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500" dirty="0">
                  <a:latin typeface="Architects Daughter" pitchFamily="2" charset="0"/>
                </a:rPr>
                <a:t>Gründung der </a:t>
              </a:r>
            </a:p>
            <a:p>
              <a:r>
                <a:rPr lang="de-DE" sz="500" dirty="0">
                  <a:latin typeface="Architects Daughter" pitchFamily="2" charset="0"/>
                </a:rPr>
                <a:t>NABU Gruppe</a:t>
              </a:r>
            </a:p>
            <a:p>
              <a:endParaRPr lang="de-DE" sz="500" dirty="0">
                <a:latin typeface="Architects Daughter" pitchFamily="2" charset="0"/>
              </a:endParaRPr>
            </a:p>
            <a:p>
              <a:endParaRPr lang="de-DE" sz="500" dirty="0">
                <a:latin typeface="Architects Daughter" pitchFamily="2" charset="0"/>
              </a:endParaRPr>
            </a:p>
            <a:p>
              <a:r>
                <a:rPr lang="de-DE" sz="500" dirty="0">
                  <a:latin typeface="Architects Daughter" pitchFamily="2" charset="0"/>
                </a:rPr>
                <a:t>10. .Dezember 1977</a:t>
              </a:r>
            </a:p>
            <a:p>
              <a:endParaRPr lang="de-DE" sz="300" dirty="0">
                <a:latin typeface="Architects Daughter" pitchFamily="2" charset="0"/>
              </a:endParaRPr>
            </a:p>
          </p:txBody>
        </p:sp>
      </p:grp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475055" y="1446611"/>
            <a:ext cx="8229600" cy="936104"/>
          </a:xfrm>
        </p:spPr>
        <p:txBody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b="1" u="sng" kern="1200" dirty="0">
                <a:solidFill>
                  <a:schemeClr val="tx1"/>
                </a:solidFill>
                <a:effectLst/>
              </a:rPr>
              <a:t>Begrüßung</a:t>
            </a:r>
            <a:endParaRPr lang="de-DE" sz="1800" dirty="0">
              <a:effectLst/>
            </a:endParaRPr>
          </a:p>
          <a:p>
            <a:endParaRPr lang="de-DE" sz="800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8"/>
            <a:ext cx="1879405" cy="1336120"/>
          </a:xfrm>
          <a:prstGeom prst="rect">
            <a:avLst/>
          </a:prstGeom>
        </p:spPr>
      </p:pic>
      <p:sp>
        <p:nvSpPr>
          <p:cNvPr id="10" name="Titel 4"/>
          <p:cNvSpPr txBox="1">
            <a:spLocks/>
          </p:cNvSpPr>
          <p:nvPr/>
        </p:nvSpPr>
        <p:spPr>
          <a:xfrm>
            <a:off x="1259632" y="2010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967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-gei_000\Documents\NABU\Verwaltung\Logo Nabu rhein-Selz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1" y="6052439"/>
            <a:ext cx="971727" cy="709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6857997"/>
            <a:ext cx="9144000" cy="45719"/>
          </a:xfrm>
          <a:prstGeom prst="rect">
            <a:avLst/>
          </a:prstGeom>
          <a:solidFill>
            <a:srgbClr val="2D5AB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003399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8066736" y="6482282"/>
            <a:ext cx="944742" cy="327616"/>
          </a:xfrm>
        </p:spPr>
        <p:txBody>
          <a:bodyPr/>
          <a:lstStyle/>
          <a:p>
            <a:fld id="{A194A020-4CA0-406A-A67A-4447F3C5548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.09.202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4388889" y="6481048"/>
            <a:ext cx="1188349" cy="297446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Volkhard Lorenz</a:t>
            </a:r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2771800" y="170966"/>
            <a:ext cx="4932548" cy="297446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4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975" b="1" i="1" dirty="0">
                <a:solidFill>
                  <a:srgbClr val="002060"/>
                </a:solidFill>
                <a:latin typeface="Source Sans Pro"/>
              </a:rPr>
              <a:t>Selztalbeweid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5C82618-682C-44F8-994A-899754CF8361}"/>
              </a:ext>
            </a:extLst>
          </p:cNvPr>
          <p:cNvSpPr/>
          <p:nvPr/>
        </p:nvSpPr>
        <p:spPr>
          <a:xfrm>
            <a:off x="13930" y="0"/>
            <a:ext cx="9144000" cy="690371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E5C26FC-992B-48F8-90F7-FA97A7F980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7250"/>
            <a:ext cx="9150382" cy="5147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561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51259" y="1772816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683568" y="2636912"/>
            <a:ext cx="7361374" cy="36933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Selztal</a:t>
            </a:r>
          </a:p>
          <a:p>
            <a:r>
              <a:rPr lang="de-DE" dirty="0"/>
              <a:t>+ Gerichtsverhandlung gegen Fiala (Kläger) verloren 2021</a:t>
            </a:r>
          </a:p>
          <a:p>
            <a:r>
              <a:rPr lang="de-DE" dirty="0"/>
              <a:t>++ Verhandlung nach Papierlage entschieden, Sachverhalte nicht erläuterbar</a:t>
            </a:r>
          </a:p>
          <a:p>
            <a:r>
              <a:rPr lang="de-DE" dirty="0"/>
              <a:t>+ Pachtverträge mit Selzverband aufgelöst</a:t>
            </a:r>
          </a:p>
          <a:p>
            <a:r>
              <a:rPr lang="de-DE" dirty="0"/>
              <a:t>+ Abzug Fiala von der Selztalbeweidung 2021</a:t>
            </a:r>
          </a:p>
          <a:p>
            <a:endParaRPr lang="de-DE" dirty="0"/>
          </a:p>
          <a:p>
            <a:r>
              <a:rPr lang="de-DE" dirty="0"/>
              <a:t>+ neue Beweider  beim Selzverband aktiv /</a:t>
            </a:r>
          </a:p>
          <a:p>
            <a:r>
              <a:rPr lang="de-DE" dirty="0"/>
              <a:t>   40 Jersey Ochsen entlang der Selz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++ neue Zäune und artgerechte Einrichtungen gebaut</a:t>
            </a:r>
          </a:p>
          <a:p>
            <a:r>
              <a:rPr lang="de-DE"/>
              <a:t>++ Budget: 289.000 €</a:t>
            </a:r>
            <a:endParaRPr lang="de-DE" dirty="0"/>
          </a:p>
          <a:p>
            <a:endParaRPr lang="de-DE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5" y="3861048"/>
            <a:ext cx="2399265" cy="1439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EFEEEE"/>
              </a:clrFrom>
              <a:clrTo>
                <a:srgbClr val="EF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427" y="5300607"/>
            <a:ext cx="1505997" cy="476862"/>
          </a:xfrm>
          <a:prstGeom prst="rect">
            <a:avLst/>
          </a:prstGeom>
        </p:spPr>
      </p:pic>
      <p:sp>
        <p:nvSpPr>
          <p:cNvPr id="11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1727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38" y="1523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1772816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827584" y="2551837"/>
            <a:ext cx="775327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++ Wasserbüffel seit 06.08.2020 bei Nieder-Olm</a:t>
            </a:r>
          </a:p>
          <a:p>
            <a:r>
              <a:rPr lang="de-DE" dirty="0"/>
              <a:t>      (3 </a:t>
            </a:r>
            <a:r>
              <a:rPr lang="de-DE" dirty="0" err="1"/>
              <a:t>Kapartenbüffel</a:t>
            </a:r>
            <a:r>
              <a:rPr lang="de-DE" dirty="0"/>
              <a:t> / ganzjährige Beweidung möglich)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+ neues Grundstück in Hahnheim durch Kreisverwaltung  angeboten, </a:t>
            </a:r>
          </a:p>
          <a:p>
            <a:r>
              <a:rPr lang="de-DE" dirty="0"/>
              <a:t>   Projekt (Rohrschwirl-Wiese in Planung)</a:t>
            </a:r>
          </a:p>
        </p:txBody>
      </p:sp>
      <p:pic>
        <p:nvPicPr>
          <p:cNvPr id="6146" name="Picture 2" descr="I:\NABU Dokumente\12 Selztalbeweidung\Konzeption Selztalbeweidung 2020\Unterlagen Volkhard\Volkhard Bilder Karpatenbüffel\Transfer\Bueffel-3 - Kopi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3267331"/>
            <a:ext cx="1779228" cy="109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I:\NABU Dokumente\12 Selztalbeweidung\Konzeption Selztalbeweidung 2020\Unterlagen Volkhard\Volkhard Bilder Karpatenbüffel\Transfer\Bueffel-4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427" y="3287007"/>
            <a:ext cx="1908469" cy="1074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:\NABU Dokumente\12 Selztalbeweidung\Konzeption Selztalbeweidung 2020\Unterlagen Volkhard\Volkhard Bilder Karpatenbüffel\Transfer\Bueffel-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3824477"/>
            <a:ext cx="2168475" cy="122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I:\NABU Dokumente\12 Selztalbeweidung\Konzeption Selztalbeweidung 2020\Wasserbüffel im Selztal\DSC_2894_D166992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040" y="3573017"/>
            <a:ext cx="1685776" cy="111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0727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51259" y="1772816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1043608" y="2708920"/>
            <a:ext cx="6854697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Öffentlichkeitsarbeit</a:t>
            </a:r>
          </a:p>
          <a:p>
            <a:r>
              <a:rPr lang="de-DE" dirty="0"/>
              <a:t>(</a:t>
            </a:r>
            <a:r>
              <a:rPr lang="de-DE" b="1" dirty="0"/>
              <a:t>Exkursionen</a:t>
            </a:r>
            <a:r>
              <a:rPr lang="de-DE" dirty="0"/>
              <a:t>, </a:t>
            </a:r>
            <a:r>
              <a:rPr lang="de-DE" b="1" dirty="0"/>
              <a:t>Vorträge</a:t>
            </a:r>
            <a:r>
              <a:rPr lang="de-DE" dirty="0"/>
              <a:t>, Homepage Paul, Mitgliederzeitschrift Volkhard)</a:t>
            </a:r>
          </a:p>
          <a:p>
            <a:endParaRPr lang="de-DE" dirty="0"/>
          </a:p>
          <a:p>
            <a:r>
              <a:rPr lang="de-DE" dirty="0"/>
              <a:t>+ leider nur 2 offizielle Veranstaltungen mit Lothar (Baumschnitt) und</a:t>
            </a:r>
          </a:p>
          <a:p>
            <a:endParaRPr lang="de-DE" dirty="0"/>
          </a:p>
          <a:p>
            <a:r>
              <a:rPr lang="de-DE" dirty="0"/>
              <a:t>+ eine halboffizielle Pflanzenexkursion mit Ursula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4624534"/>
            <a:ext cx="1303574" cy="1738099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641" y="4771066"/>
            <a:ext cx="1926717" cy="1445037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878" y="4585250"/>
            <a:ext cx="1891959" cy="1816666"/>
          </a:xfrm>
          <a:prstGeom prst="rect">
            <a:avLst/>
          </a:prstGeom>
        </p:spPr>
      </p:pic>
      <p:sp>
        <p:nvSpPr>
          <p:cNvPr id="11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1427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8" name="Titel 6"/>
          <p:cNvSpPr>
            <a:spLocks noGrp="1"/>
          </p:cNvSpPr>
          <p:nvPr>
            <p:ph type="title"/>
          </p:nvPr>
        </p:nvSpPr>
        <p:spPr>
          <a:xfrm>
            <a:off x="351259" y="1772816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923858" y="2919371"/>
            <a:ext cx="39001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+ Ausfallen mussten als Pandemieopfer:</a:t>
            </a:r>
          </a:p>
        </p:txBody>
      </p:sp>
      <p:sp>
        <p:nvSpPr>
          <p:cNvPr id="9" name="Rechteck 8"/>
          <p:cNvSpPr/>
          <p:nvPr/>
        </p:nvSpPr>
        <p:spPr>
          <a:xfrm>
            <a:off x="899592" y="3635732"/>
            <a:ext cx="78488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++ unsere Vogelexkursionen, Graureiher/Paul u. Blaukehlchen/Siggi in Hahnheim</a:t>
            </a:r>
          </a:p>
        </p:txBody>
      </p:sp>
      <p:sp>
        <p:nvSpPr>
          <p:cNvPr id="10" name="Rechteck 9"/>
          <p:cNvSpPr/>
          <p:nvPr/>
        </p:nvSpPr>
        <p:spPr>
          <a:xfrm>
            <a:off x="899592" y="4211796"/>
            <a:ext cx="63367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++ unsere Schmetterlingsexkursion/Jochen (Guntersblum) </a:t>
            </a:r>
          </a:p>
        </p:txBody>
      </p:sp>
      <p:sp>
        <p:nvSpPr>
          <p:cNvPr id="11" name="Rechteck 10"/>
          <p:cNvSpPr/>
          <p:nvPr/>
        </p:nvSpPr>
        <p:spPr>
          <a:xfrm>
            <a:off x="899592" y="4859868"/>
            <a:ext cx="73803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++ unsere Pflanzenexkursion/Christine (Bliesgau - Orchideen)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411" y="4165075"/>
            <a:ext cx="1306417" cy="224111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2306501"/>
            <a:ext cx="1850625" cy="1225739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362" y="5264583"/>
            <a:ext cx="1776600" cy="1141604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959" y="5222777"/>
            <a:ext cx="1694984" cy="1139102"/>
          </a:xfrm>
          <a:prstGeom prst="rect">
            <a:avLst/>
          </a:prstGeom>
        </p:spPr>
      </p:pic>
      <p:sp>
        <p:nvSpPr>
          <p:cNvPr id="16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7955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51259" y="1772816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467544" y="2828836"/>
            <a:ext cx="79928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Öffentlichkeitsarbeit</a:t>
            </a:r>
          </a:p>
          <a:p>
            <a:r>
              <a:rPr lang="de-DE" dirty="0"/>
              <a:t>(Exkursionen, Vorträge, </a:t>
            </a:r>
            <a:r>
              <a:rPr lang="de-DE" b="1" dirty="0"/>
              <a:t>Homepage</a:t>
            </a:r>
            <a:r>
              <a:rPr lang="de-DE" dirty="0"/>
              <a:t>/Paul u. Thomas), Mitgliederzeitschrift/Volkhard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3645024"/>
            <a:ext cx="2900239" cy="289417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7011" y="3645024"/>
            <a:ext cx="823462" cy="2894178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907" y="3647458"/>
            <a:ext cx="2453160" cy="2894178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2640" y="3645024"/>
            <a:ext cx="2235097" cy="2894178"/>
          </a:xfrm>
          <a:prstGeom prst="rect">
            <a:avLst/>
          </a:prstGeom>
        </p:spPr>
      </p:pic>
      <p:sp>
        <p:nvSpPr>
          <p:cNvPr id="14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0847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539553" y="2636912"/>
            <a:ext cx="804130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Öffentlichkeitsarbeit</a:t>
            </a:r>
          </a:p>
          <a:p>
            <a:r>
              <a:rPr lang="de-DE" dirty="0"/>
              <a:t>(Exkursionen, Vorträge, </a:t>
            </a:r>
            <a:r>
              <a:rPr lang="de-DE" b="1" dirty="0"/>
              <a:t>Mitgliederzeitschrift</a:t>
            </a:r>
            <a:r>
              <a:rPr lang="de-DE" dirty="0"/>
              <a:t>/Volkhard, Homepage/Paul u. Thomas)</a:t>
            </a:r>
          </a:p>
          <a:p>
            <a:endParaRPr lang="de-DE" dirty="0"/>
          </a:p>
          <a:p>
            <a:r>
              <a:rPr lang="de-DE" dirty="0"/>
              <a:t> Unsere Mitgliederzeitschrift „Der Steinkauz“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0" name="Titel 6"/>
          <p:cNvSpPr>
            <a:spLocks noGrp="1"/>
          </p:cNvSpPr>
          <p:nvPr>
            <p:ph type="title"/>
          </p:nvPr>
        </p:nvSpPr>
        <p:spPr>
          <a:xfrm>
            <a:off x="351259" y="1772816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755" y="4148547"/>
            <a:ext cx="1152128" cy="162854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149082"/>
            <a:ext cx="1188132" cy="1628547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648" y="4149082"/>
            <a:ext cx="1159265" cy="1628547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207" y="4148548"/>
            <a:ext cx="1159265" cy="1628547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616" y="4149080"/>
            <a:ext cx="1156069" cy="1628549"/>
          </a:xfrm>
          <a:prstGeom prst="rect">
            <a:avLst/>
          </a:prstGeom>
        </p:spPr>
      </p:pic>
      <p:sp>
        <p:nvSpPr>
          <p:cNvPr id="14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794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239CFE5-E5CD-47AC-B7FE-7740D326A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7778"/>
            <a:ext cx="9144000" cy="6482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25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E0D74EB2-0EDF-4C01-9E80-935507CBCD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9607" y="404664"/>
            <a:ext cx="8794881" cy="6237226"/>
          </a:xfrm>
        </p:spPr>
      </p:pic>
    </p:spTree>
    <p:extLst>
      <p:ext uri="{BB962C8B-B14F-4D97-AF65-F5344CB8AC3E}">
        <p14:creationId xmlns:p14="http://schemas.microsoft.com/office/powerpoint/2010/main" val="4615589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687B28-8616-4074-B2AC-FEC9ECA674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1011F44-F348-4244-96DF-84D14345F5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267089"/>
            <a:ext cx="9144000" cy="6474279"/>
          </a:xfrm>
        </p:spPr>
      </p:pic>
    </p:spTree>
    <p:extLst>
      <p:ext uri="{BB962C8B-B14F-4D97-AF65-F5344CB8AC3E}">
        <p14:creationId xmlns:p14="http://schemas.microsoft.com/office/powerpoint/2010/main" val="3645486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294928" y="1700808"/>
            <a:ext cx="8229600" cy="108012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effectLst/>
                <a:latin typeface="Calibri"/>
                <a:ea typeface="+mn-ea"/>
                <a:cs typeface="+mn-cs"/>
              </a:rPr>
              <a:t>Tätigkeitsbericht der NABU-Gruppe Rhein-Selz</a:t>
            </a:r>
            <a:endParaRPr lang="de-DE" sz="1800" b="1" u="sng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649668" y="2420888"/>
            <a:ext cx="5173147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Biotop-Pflege (Grünland und Gewässer):</a:t>
            </a:r>
          </a:p>
          <a:p>
            <a:r>
              <a:rPr lang="de-DE" dirty="0"/>
              <a:t>	+ Amphibienmonitoring: Dr. Barbara Geiger</a:t>
            </a:r>
          </a:p>
          <a:p>
            <a:r>
              <a:rPr lang="de-DE" dirty="0"/>
              <a:t>	+ + Teiche   Barbara, Burkhard</a:t>
            </a:r>
          </a:p>
        </p:txBody>
      </p:sp>
      <p:sp>
        <p:nvSpPr>
          <p:cNvPr id="9" name="Rechteck 8"/>
          <p:cNvSpPr/>
          <p:nvPr/>
        </p:nvSpPr>
        <p:spPr>
          <a:xfrm>
            <a:off x="611560" y="3592757"/>
            <a:ext cx="792088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 Flächenmanagement (Streuobstwiesen und Naturschutzflächen)</a:t>
            </a:r>
          </a:p>
          <a:p>
            <a:r>
              <a:rPr lang="de-DE" dirty="0"/>
              <a:t>	Werner, Siggi, Lothar, Ursula, Paul, Volkhard</a:t>
            </a:r>
          </a:p>
          <a:p>
            <a:endParaRPr lang="de-DE" dirty="0"/>
          </a:p>
          <a:p>
            <a:r>
              <a:rPr lang="de-DE" dirty="0"/>
              <a:t>	+ Alter Golfplatz (Eidechsenhügel) und Quittenwiese (Nierstein) </a:t>
            </a:r>
          </a:p>
          <a:p>
            <a:r>
              <a:rPr lang="de-DE" dirty="0"/>
              <a:t>	   (Mahd noch offen) vorauss. Termine: 25.09., 02.10., 16.10.2021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  <a:p>
            <a:r>
              <a:rPr lang="de-DE" dirty="0"/>
              <a:t>	 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4485" y="2395857"/>
            <a:ext cx="1507495" cy="113207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734" y="5229200"/>
            <a:ext cx="1770889" cy="99612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80" y="5229200"/>
            <a:ext cx="1835696" cy="99016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4178" y="5229200"/>
            <a:ext cx="1992635" cy="990160"/>
          </a:xfrm>
          <a:prstGeom prst="rect">
            <a:avLst/>
          </a:prstGeom>
        </p:spPr>
      </p:pic>
      <p:sp>
        <p:nvSpPr>
          <p:cNvPr id="16" name="Titel 4"/>
          <p:cNvSpPr txBox="1">
            <a:spLocks/>
          </p:cNvSpPr>
          <p:nvPr/>
        </p:nvSpPr>
        <p:spPr>
          <a:xfrm>
            <a:off x="1351942" y="94647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21608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99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8" name="Titel 6"/>
          <p:cNvSpPr>
            <a:spLocks noGrp="1"/>
          </p:cNvSpPr>
          <p:nvPr>
            <p:ph type="title"/>
          </p:nvPr>
        </p:nvSpPr>
        <p:spPr>
          <a:xfrm>
            <a:off x="351259" y="1772816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Kassenwart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7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511089">
            <a:off x="346116" y="3955644"/>
            <a:ext cx="1823325" cy="182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4" name="Picture 4" descr="Fashionalarm Herren T-Shirt - Seine Majestät der Kassierer | Fun Shirt mit lustigem Spruch als Geschenk Idee Kassenwart Beruf Arbeit, Farbe:schwarz;Größe:5XL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65752">
            <a:off x="6409462" y="3541992"/>
            <a:ext cx="2359587" cy="327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5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DDDDDD"/>
              </a:clrFrom>
              <a:clrTo>
                <a:srgbClr val="DDDDDD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6000" contrast="-3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3501008"/>
            <a:ext cx="2304256" cy="3049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8"/>
          <p:cNvSpPr/>
          <p:nvPr/>
        </p:nvSpPr>
        <p:spPr>
          <a:xfrm>
            <a:off x="1024943" y="2612811"/>
            <a:ext cx="71223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		Vorstellung des Kassenberichts</a:t>
            </a:r>
          </a:p>
          <a:p>
            <a:endParaRPr lang="de-DE" dirty="0"/>
          </a:p>
          <a:p>
            <a:r>
              <a:rPr lang="de-DE" dirty="0"/>
              <a:t>	Kassenwart Lothar Schaumberger erläutert den Kassenbericht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31293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68036227"/>
              </p:ext>
            </p:extLst>
          </p:nvPr>
        </p:nvGraphicFramePr>
        <p:xfrm>
          <a:off x="335030" y="1412776"/>
          <a:ext cx="8280920" cy="5397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8019910" imgH="5666941" progId="AcroExch.Document.DC">
                  <p:embed/>
                </p:oleObj>
              </mc:Choice>
              <mc:Fallback>
                <p:oleObj name="Acrobat Document" r:id="rId2" imgW="8019910" imgH="5666941" progId="AcroExch.Document.DC">
                  <p:embed/>
                  <p:pic>
                    <p:nvPicPr>
                      <p:cNvPr id="9" name="Objekt 8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35030" y="1412776"/>
                        <a:ext cx="8280920" cy="53974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6"/>
          <p:cNvSpPr>
            <a:spLocks noGrp="1"/>
          </p:cNvSpPr>
          <p:nvPr>
            <p:ph type="title"/>
          </p:nvPr>
        </p:nvSpPr>
        <p:spPr>
          <a:xfrm>
            <a:off x="467544" y="1340768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Kassenbericht</a:t>
            </a:r>
            <a:endParaRPr lang="de-DE" dirty="0">
              <a:effectLst/>
            </a:endParaRPr>
          </a:p>
          <a:p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5364088" y="2996952"/>
            <a:ext cx="2448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12.02. 2021 Heinz </a:t>
            </a:r>
            <a:r>
              <a:rPr lang="de-DE" sz="1200" dirty="0" err="1"/>
              <a:t>Abbel</a:t>
            </a:r>
            <a:endParaRPr lang="de-DE" sz="1200" dirty="0"/>
          </a:p>
          <a:p>
            <a:r>
              <a:rPr lang="de-DE" sz="1200" dirty="0"/>
              <a:t>05.03.2021 Sabine Manz</a:t>
            </a:r>
          </a:p>
        </p:txBody>
      </p:sp>
      <p:sp>
        <p:nvSpPr>
          <p:cNvPr id="7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7699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6" name="Titel 6"/>
          <p:cNvSpPr>
            <a:spLocks noGrp="1"/>
          </p:cNvSpPr>
          <p:nvPr>
            <p:ph type="title"/>
          </p:nvPr>
        </p:nvSpPr>
        <p:spPr>
          <a:xfrm>
            <a:off x="457200" y="1772816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Kassenprüfer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755576" y="2647576"/>
            <a:ext cx="763284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u="sng" dirty="0"/>
              <a:t>Kassenprüfer:</a:t>
            </a:r>
          </a:p>
          <a:p>
            <a:r>
              <a:rPr lang="de-DE" dirty="0"/>
              <a:t>Heinz </a:t>
            </a:r>
            <a:r>
              <a:rPr lang="de-DE" dirty="0" err="1"/>
              <a:t>Abbel</a:t>
            </a:r>
            <a:r>
              <a:rPr lang="de-DE" dirty="0"/>
              <a:t> und Sabine Manz haben die Buchführung des Kassenwartes am 12.02.2021 und am 05.03.2021 geprüft und keine Beanstandungen festgestellt. </a:t>
            </a:r>
          </a:p>
          <a:p>
            <a:r>
              <a:rPr lang="de-DE" dirty="0"/>
              <a:t>Beide können heute leider nicht hier sein. Deshalb liegen die Erklärungen dazu</a:t>
            </a:r>
          </a:p>
          <a:p>
            <a:r>
              <a:rPr lang="de-DE" dirty="0"/>
              <a:t>schriftlich vor. </a:t>
            </a:r>
          </a:p>
        </p:txBody>
      </p:sp>
      <p:sp>
        <p:nvSpPr>
          <p:cNvPr id="8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  <p:pic>
        <p:nvPicPr>
          <p:cNvPr id="14338" name="Picture 2" descr="https://m.media-amazon.com/images/I/71XUxilrVRL._AC_SL1100_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3957006"/>
            <a:ext cx="2712996" cy="2568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22589">
            <a:off x="687237" y="4609885"/>
            <a:ext cx="1997914" cy="1118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5" descr="Kassenprüfung in Österreich: Wie laufen die Prüfungen ab? | QuickB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43605">
            <a:off x="6502390" y="4603270"/>
            <a:ext cx="1995663" cy="1321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28258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2857500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Aussprache zu den Berichten</a:t>
            </a:r>
            <a:endParaRPr lang="de-DE" dirty="0">
              <a:effectLst/>
            </a:endParaRPr>
          </a:p>
          <a:p>
            <a:endParaRPr lang="de-DE" dirty="0"/>
          </a:p>
        </p:txBody>
      </p:sp>
      <p:pic>
        <p:nvPicPr>
          <p:cNvPr id="9218" name="Picture 2" descr="C:\Users\jugen\AppData\Local\Microsoft\Windows\INetCache\IE\IB8MS77T\question-mark-1019820_960_720[1]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7" y="3945793"/>
            <a:ext cx="2376264" cy="2376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C:\Users\jugen\AppData\Local\Microsoft\Windows\INetCache\IE\SVW9I05H\exclamation-48283_960_720[1]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998" y="4388804"/>
            <a:ext cx="1490241" cy="1490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8516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8" name="Titel 6"/>
          <p:cNvSpPr txBox="1">
            <a:spLocks/>
          </p:cNvSpPr>
          <p:nvPr/>
        </p:nvSpPr>
        <p:spPr>
          <a:xfrm>
            <a:off x="457200" y="19168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800" b="1" u="sng" dirty="0">
                <a:solidFill>
                  <a:srgbClr val="000000"/>
                </a:solidFill>
                <a:latin typeface="Calibri"/>
              </a:rPr>
              <a:t>Entlastung des Vorstandes</a:t>
            </a:r>
            <a:endParaRPr lang="de-DE" dirty="0"/>
          </a:p>
          <a:p>
            <a:endParaRPr lang="de-DE" dirty="0"/>
          </a:p>
        </p:txBody>
      </p:sp>
      <p:sp>
        <p:nvSpPr>
          <p:cNvPr id="9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  <p:pic>
        <p:nvPicPr>
          <p:cNvPr id="13314" name="Picture 2" descr="Der Praxisratgeber für Vereine | DEUTSCHES EHRENAM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79828">
            <a:off x="5467857" y="3466336"/>
            <a:ext cx="3141833" cy="2220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/>
        </p:nvSpPr>
        <p:spPr>
          <a:xfrm>
            <a:off x="608710" y="5145943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200" dirty="0"/>
              <a:t>Eine Entlastung des Vorstandes bedeutet einen Freispruch von Bereicherungs- und Schadensersatzforderungen. Zuständig ist hierfür die Mitgliederversammlung, die den Vorstand entlasten kann, indem sie dem Vorgehen des Vorsitzenden vertraut und hinter ihm und seinen Handlungen steht. </a:t>
            </a:r>
          </a:p>
        </p:txBody>
      </p:sp>
      <p:pic>
        <p:nvPicPr>
          <p:cNvPr id="13316" name="Picture 4" descr="https://deutsches-ehrenamt.de/wp-content/uploads/2020/02/satzung-verein.p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93355">
            <a:off x="863165" y="2895167"/>
            <a:ext cx="3275856" cy="2017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69592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267744" y="2780928"/>
            <a:ext cx="61088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Ehrung - Dr. Barbara Geiger </a:t>
            </a:r>
          </a:p>
          <a:p>
            <a:r>
              <a:rPr lang="de-DE" dirty="0"/>
              <a:t>+ Gutschein 150€ </a:t>
            </a:r>
          </a:p>
          <a:p>
            <a:r>
              <a:rPr lang="de-DE" dirty="0"/>
              <a:t>- für projektbezogene Investitionen</a:t>
            </a:r>
          </a:p>
          <a:p>
            <a:r>
              <a:rPr lang="de-DE" dirty="0"/>
              <a:t> 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51259" y="1628800"/>
            <a:ext cx="8229600" cy="1143000"/>
          </a:xfrm>
        </p:spPr>
        <p:txBody>
          <a:bodyPr/>
          <a:lstStyle/>
          <a:p>
            <a:r>
              <a:rPr lang="de-DE" dirty="0"/>
              <a:t>Ehrungen</a:t>
            </a:r>
          </a:p>
        </p:txBody>
      </p:sp>
      <p:sp>
        <p:nvSpPr>
          <p:cNvPr id="6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200"/>
              </a:clrFrom>
              <a:clrTo>
                <a:srgbClr val="0002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80798">
            <a:off x="6815240" y="2293463"/>
            <a:ext cx="1631125" cy="163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88250">
            <a:off x="757836" y="3906741"/>
            <a:ext cx="1699910" cy="1892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293" y="1634215"/>
            <a:ext cx="1753696" cy="86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381" y="4003455"/>
            <a:ext cx="3217540" cy="2252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4707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619671" y="2967335"/>
            <a:ext cx="610888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Ehrung - Daniel Beier </a:t>
            </a:r>
          </a:p>
          <a:p>
            <a:r>
              <a:rPr lang="de-DE" dirty="0"/>
              <a:t>+ Ehrennadel in Bronze </a:t>
            </a:r>
          </a:p>
          <a:p>
            <a:r>
              <a:rPr lang="de-DE" dirty="0"/>
              <a:t>+ Gutschein 150€ (- für projektbezogene Investitionen)</a:t>
            </a:r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51259" y="1628800"/>
            <a:ext cx="8229600" cy="1143000"/>
          </a:xfrm>
        </p:spPr>
        <p:txBody>
          <a:bodyPr/>
          <a:lstStyle/>
          <a:p>
            <a:r>
              <a:rPr lang="de-DE" dirty="0"/>
              <a:t>Ehrungen</a:t>
            </a:r>
          </a:p>
        </p:txBody>
      </p:sp>
      <p:sp>
        <p:nvSpPr>
          <p:cNvPr id="6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  <p:pic>
        <p:nvPicPr>
          <p:cNvPr id="10242" name="Picture 2" descr="NABU-Ehrennadel in Bronze für Dr. Michael Richter. Da er bei der Mitgliederversammlung nicht anwesend war, wird ihm die Auszeichnung zu einer anderen Gelegenheit überreicht. Foto: René Siev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74374">
            <a:off x="6389033" y="1936385"/>
            <a:ext cx="1512168" cy="1134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 descr="C:\Users\jugen\AppData\Local\Microsoft\Windows\INetCache\IE\SVW9I05H\300px-Großes_Mausohr[1]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135690" y="5513729"/>
            <a:ext cx="2016224" cy="1348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5503863"/>
            <a:ext cx="2011363" cy="135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6" name="Picture 6" descr="22_fledermau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4256" y="2985500"/>
            <a:ext cx="457200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62539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53828" y="2132856"/>
            <a:ext cx="8229600" cy="1143000"/>
          </a:xfrm>
        </p:spPr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2" name="Rechteck 1"/>
          <p:cNvSpPr/>
          <p:nvPr/>
        </p:nvSpPr>
        <p:spPr>
          <a:xfrm>
            <a:off x="2304256" y="3717032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/>
              <a:t>+ Kranichwoog</a:t>
            </a:r>
          </a:p>
          <a:p>
            <a:r>
              <a:rPr lang="de-DE" dirty="0"/>
              <a:t>+ Steinkauz (Mitgliederzeitung)</a:t>
            </a:r>
          </a:p>
          <a:p>
            <a:r>
              <a:rPr lang="de-DE" dirty="0"/>
              <a:t>+ Pflegemaßnahmen/Mahd</a:t>
            </a:r>
          </a:p>
          <a:p>
            <a:r>
              <a:rPr lang="de-DE" dirty="0"/>
              <a:t>+ Selztalprojekte </a:t>
            </a:r>
          </a:p>
          <a:p>
            <a:r>
              <a:rPr lang="de-DE" dirty="0"/>
              <a:t>+ neues Flächenmanagement Werner</a:t>
            </a:r>
          </a:p>
        </p:txBody>
      </p:sp>
      <p:sp>
        <p:nvSpPr>
          <p:cNvPr id="6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2132856"/>
            <a:ext cx="1967779" cy="2885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47071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857945" y="858443"/>
          <a:ext cx="12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57945" y="858443"/>
                        <a:ext cx="12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5"/>
          <p:cNvSpPr>
            <a:spLocks noChangeArrowheads="1"/>
          </p:cNvSpPr>
          <p:nvPr/>
        </p:nvSpPr>
        <p:spPr bwMode="auto">
          <a:xfrm flipH="1">
            <a:off x="539546" y="2708920"/>
            <a:ext cx="4254085" cy="36678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108000" tIns="0" rIns="0" bIns="0" anchor="ctr" anchorCtr="0"/>
          <a:lstStyle/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 err="1"/>
              <a:t>Mantis</a:t>
            </a:r>
            <a:r>
              <a:rPr lang="de-DE" dirty="0"/>
              <a:t> </a:t>
            </a:r>
            <a:r>
              <a:rPr lang="de-DE" dirty="0" err="1"/>
              <a:t>religiosa</a:t>
            </a:r>
            <a:r>
              <a:rPr lang="de-DE" dirty="0"/>
              <a:t> in Guntersblum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Hirschkäferwald in Oppenheim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Die </a:t>
            </a:r>
            <a:r>
              <a:rPr lang="de-DE" dirty="0" err="1"/>
              <a:t>Steinkauzwiese</a:t>
            </a:r>
            <a:r>
              <a:rPr lang="de-DE" dirty="0"/>
              <a:t> in Friesenheim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Eidechsenhabitat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Großer Wiesenknopf 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QR-Code für Äpfel auf der Streuobstwiese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Schmetterlinge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Vernissage von Heinz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Amphibienprojekt von Barbara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Artikel von Ursula</a:t>
            </a:r>
          </a:p>
          <a:p>
            <a:pPr marL="180000" lvl="1" indent="-252000" eaLnBrk="0" hangingPunct="0">
              <a:spcBef>
                <a:spcPts val="200"/>
              </a:spcBef>
              <a:spcAft>
                <a:spcPts val="600"/>
              </a:spcAft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Exkursionen</a:t>
            </a:r>
          </a:p>
          <a:p>
            <a:pPr marL="180000" lvl="1" indent="-180000" eaLnBrk="0" hangingPunct="0">
              <a:spcBef>
                <a:spcPts val="200"/>
              </a:spcBef>
              <a:buClr>
                <a:srgbClr val="00AFD8"/>
              </a:buClr>
              <a:buSzPct val="100000"/>
              <a:buFont typeface="Lucida Sans Unicode" panose="020B0602030504020204" pitchFamily="34" charset="0"/>
              <a:buChar char="▶"/>
            </a:pPr>
            <a:endParaRPr lang="de-DE" sz="1000" dirty="0"/>
          </a:p>
        </p:txBody>
      </p:sp>
      <p:sp>
        <p:nvSpPr>
          <p:cNvPr id="18" name="Richtungspfeil 17"/>
          <p:cNvSpPr/>
          <p:nvPr/>
        </p:nvSpPr>
        <p:spPr bwMode="auto">
          <a:xfrm>
            <a:off x="5382309" y="1124744"/>
            <a:ext cx="3312000" cy="1008000"/>
          </a:xfrm>
          <a:prstGeom prst="rect">
            <a:avLst/>
          </a:prstGeom>
          <a:solidFill>
            <a:srgbClr val="A626A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0" rIns="5400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A0F5"/>
              </a:buClr>
            </a:pPr>
            <a:r>
              <a:rPr lang="de-DE" sz="1600" b="1" dirty="0">
                <a:solidFill>
                  <a:srgbClr val="FFFFFF"/>
                </a:solidFill>
              </a:rPr>
              <a:t>          kurzgesagt/</a:t>
            </a:r>
            <a:br>
              <a:rPr lang="de-DE" sz="1600" b="1" dirty="0">
                <a:solidFill>
                  <a:srgbClr val="FFFFFF"/>
                </a:solidFill>
              </a:rPr>
            </a:br>
            <a:r>
              <a:rPr lang="de-DE" sz="1600" b="1" dirty="0">
                <a:solidFill>
                  <a:srgbClr val="FFFFFF"/>
                </a:solidFill>
              </a:rPr>
              <a:t>         über den Tellerrand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D273E373-1819-4B46-8FC0-DAD54F55EF8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274634" y="3212976"/>
            <a:ext cx="3689854" cy="12961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108000" tIns="0" rIns="0" bIns="0" anchor="ctr" anchorCtr="0"/>
          <a:lstStyle/>
          <a:p>
            <a:pPr marL="171450" lvl="1" indent="-252000" eaLnBrk="0" hangingPunct="0">
              <a:spcBef>
                <a:spcPts val="600"/>
              </a:spcBef>
              <a:spcAft>
                <a:spcPts val="600"/>
              </a:spcAft>
              <a:buClr>
                <a:srgbClr val="A626AA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Rotkehlchen</a:t>
            </a:r>
          </a:p>
          <a:p>
            <a:pPr marL="171450" lvl="1" indent="-252000" eaLnBrk="0" hangingPunct="0">
              <a:spcBef>
                <a:spcPts val="600"/>
              </a:spcBef>
              <a:spcAft>
                <a:spcPts val="600"/>
              </a:spcAft>
              <a:buClr>
                <a:srgbClr val="A626AA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Pflegeeinsätze</a:t>
            </a:r>
          </a:p>
          <a:p>
            <a:pPr marL="171450" lvl="1" indent="-252000" eaLnBrk="0" hangingPunct="0">
              <a:spcBef>
                <a:spcPts val="600"/>
              </a:spcBef>
              <a:spcAft>
                <a:spcPts val="600"/>
              </a:spcAft>
              <a:buClr>
                <a:srgbClr val="A626AA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3 Auszeichnungen Schwalben</a:t>
            </a:r>
          </a:p>
          <a:p>
            <a:pPr marL="171450" lvl="1" indent="-252000" eaLnBrk="0" hangingPunct="0">
              <a:spcBef>
                <a:spcPts val="600"/>
              </a:spcBef>
              <a:spcAft>
                <a:spcPts val="600"/>
              </a:spcAft>
              <a:buClr>
                <a:srgbClr val="A626AA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Grünhaus </a:t>
            </a:r>
          </a:p>
          <a:p>
            <a:pPr marL="171450" lvl="1" indent="-252000" eaLnBrk="0" hangingPunct="0">
              <a:spcBef>
                <a:spcPts val="600"/>
              </a:spcBef>
              <a:spcAft>
                <a:spcPts val="600"/>
              </a:spcAft>
              <a:buClr>
                <a:srgbClr val="A626AA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Truppenübungsplatz Serrig  </a:t>
            </a:r>
          </a:p>
          <a:p>
            <a:pPr marL="171450" lvl="1" indent="-252000" eaLnBrk="0" hangingPunct="0">
              <a:spcBef>
                <a:spcPts val="600"/>
              </a:spcBef>
              <a:spcAft>
                <a:spcPts val="600"/>
              </a:spcAft>
              <a:buClr>
                <a:srgbClr val="A626AA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Selztal </a:t>
            </a:r>
          </a:p>
          <a:p>
            <a:pPr marL="171450" lvl="1" indent="-252000" eaLnBrk="0" hangingPunct="0">
              <a:spcBef>
                <a:spcPts val="600"/>
              </a:spcBef>
              <a:spcAft>
                <a:spcPts val="600"/>
              </a:spcAft>
              <a:buClr>
                <a:srgbClr val="A626AA"/>
              </a:buClr>
              <a:buSzPct val="100000"/>
              <a:buFont typeface="Lucida Sans Unicode" panose="020B0602030504020204" pitchFamily="34" charset="0"/>
              <a:buChar char="▶"/>
            </a:pPr>
            <a:r>
              <a:rPr lang="de-DE" dirty="0"/>
              <a:t>Kranichwoog</a:t>
            </a:r>
          </a:p>
        </p:txBody>
      </p:sp>
      <p:sp>
        <p:nvSpPr>
          <p:cNvPr id="17" name="Richtungspfeil 15">
            <a:extLst>
              <a:ext uri="{FF2B5EF4-FFF2-40B4-BE49-F238E27FC236}">
                <a16:creationId xmlns:a16="http://schemas.microsoft.com/office/drawing/2014/main" id="{1DC7DEE6-A70C-4825-AE7A-4C04A380C845}"/>
              </a:ext>
            </a:extLst>
          </p:cNvPr>
          <p:cNvSpPr/>
          <p:nvPr/>
        </p:nvSpPr>
        <p:spPr bwMode="auto">
          <a:xfrm>
            <a:off x="663866" y="1170620"/>
            <a:ext cx="3312000" cy="1008000"/>
          </a:xfrm>
          <a:prstGeom prst="rect">
            <a:avLst/>
          </a:prstGeom>
          <a:solidFill>
            <a:srgbClr val="00B2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0" rIns="5400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rgbClr val="FFFFFF"/>
                </a:solidFill>
              </a:rPr>
              <a:t>         Artik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37725EE-4FA8-4114-AA3C-5C9C17B5B459}"/>
              </a:ext>
            </a:extLst>
          </p:cNvPr>
          <p:cNvGrpSpPr/>
          <p:nvPr/>
        </p:nvGrpSpPr>
        <p:grpSpPr>
          <a:xfrm>
            <a:off x="3779506" y="1284697"/>
            <a:ext cx="504462" cy="722124"/>
            <a:chOff x="1619416" y="1446107"/>
            <a:chExt cx="208916" cy="252000"/>
          </a:xfrm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CE64342C-3A58-466E-9B4A-CD24E134A3FB}"/>
                </a:ext>
              </a:extLst>
            </p:cNvPr>
            <p:cNvSpPr/>
            <p:nvPr/>
          </p:nvSpPr>
          <p:spPr>
            <a:xfrm>
              <a:off x="1619416" y="1446107"/>
              <a:ext cx="144000" cy="252000"/>
            </a:xfrm>
            <a:prstGeom prst="chevron">
              <a:avLst>
                <a:gd name="adj" fmla="val 5263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Arrow: Chevron 28">
              <a:extLst>
                <a:ext uri="{FF2B5EF4-FFF2-40B4-BE49-F238E27FC236}">
                  <a16:creationId xmlns:a16="http://schemas.microsoft.com/office/drawing/2014/main" id="{59D68929-B936-478A-BAB3-AA7378D14982}"/>
                </a:ext>
              </a:extLst>
            </p:cNvPr>
            <p:cNvSpPr/>
            <p:nvPr/>
          </p:nvSpPr>
          <p:spPr>
            <a:xfrm>
              <a:off x="1684332" y="1446107"/>
              <a:ext cx="144000" cy="252000"/>
            </a:xfrm>
            <a:prstGeom prst="chevron">
              <a:avLst>
                <a:gd name="adj" fmla="val 52638"/>
              </a:avLst>
            </a:prstGeom>
            <a:solidFill>
              <a:srgbClr val="00A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7AA1273-AB66-469E-B007-FD5DA6C89679}"/>
              </a:ext>
            </a:extLst>
          </p:cNvPr>
          <p:cNvGrpSpPr/>
          <p:nvPr/>
        </p:nvGrpSpPr>
        <p:grpSpPr>
          <a:xfrm rot="10800000">
            <a:off x="5076056" y="1297612"/>
            <a:ext cx="444314" cy="726245"/>
            <a:chOff x="1619416" y="1446107"/>
            <a:chExt cx="208916" cy="252000"/>
          </a:xfrm>
        </p:grpSpPr>
        <p:sp>
          <p:nvSpPr>
            <p:cNvPr id="31" name="Arrow: Chevron 30">
              <a:extLst>
                <a:ext uri="{FF2B5EF4-FFF2-40B4-BE49-F238E27FC236}">
                  <a16:creationId xmlns:a16="http://schemas.microsoft.com/office/drawing/2014/main" id="{3ACAB40C-62E0-473B-974F-A81EE456D6CA}"/>
                </a:ext>
              </a:extLst>
            </p:cNvPr>
            <p:cNvSpPr/>
            <p:nvPr/>
          </p:nvSpPr>
          <p:spPr>
            <a:xfrm>
              <a:off x="1619416" y="1446107"/>
              <a:ext cx="144000" cy="252000"/>
            </a:xfrm>
            <a:prstGeom prst="chevron">
              <a:avLst>
                <a:gd name="adj" fmla="val 5263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32" name="Arrow: Chevron 31">
              <a:extLst>
                <a:ext uri="{FF2B5EF4-FFF2-40B4-BE49-F238E27FC236}">
                  <a16:creationId xmlns:a16="http://schemas.microsoft.com/office/drawing/2014/main" id="{DBCF22F6-B6BA-457E-AEE3-94762BC10417}"/>
                </a:ext>
              </a:extLst>
            </p:cNvPr>
            <p:cNvSpPr/>
            <p:nvPr/>
          </p:nvSpPr>
          <p:spPr>
            <a:xfrm>
              <a:off x="1684332" y="1446107"/>
              <a:ext cx="144000" cy="252000"/>
            </a:xfrm>
            <a:prstGeom prst="chevron">
              <a:avLst>
                <a:gd name="adj" fmla="val 52638"/>
              </a:avLst>
            </a:prstGeom>
            <a:solidFill>
              <a:srgbClr val="A626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78FF3A4D-9FAC-425A-889C-8796E45ED75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4350366" y="6376758"/>
            <a:ext cx="443268" cy="288033"/>
          </a:xfrm>
        </p:spPr>
        <p:txBody>
          <a:bodyPr/>
          <a:lstStyle/>
          <a:p>
            <a:fld id="{DAF489CC-3B7A-4DA5-A8C0-4984788D0EC5}" type="slidenum">
              <a:rPr lang="nl-NL" smtClean="0"/>
              <a:pPr/>
              <a:t>38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81E425E-B1AE-4115-AE35-BA0A89165231}"/>
              </a:ext>
            </a:extLst>
          </p:cNvPr>
          <p:cNvSpPr txBox="1">
            <a:spLocks/>
          </p:cNvSpPr>
          <p:nvPr/>
        </p:nvSpPr>
        <p:spPr>
          <a:xfrm>
            <a:off x="2771800" y="170966"/>
            <a:ext cx="3888432" cy="297446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4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975" b="1" i="1" dirty="0">
                <a:solidFill>
                  <a:srgbClr val="002060"/>
                </a:solidFill>
                <a:latin typeface="Source Sans Pro"/>
              </a:rPr>
              <a:t>Steinkauz 2022</a:t>
            </a:r>
          </a:p>
        </p:txBody>
      </p:sp>
      <p:pic>
        <p:nvPicPr>
          <p:cNvPr id="19" name="cc-m-textwithimage-image-14120407927" descr="Mantis religiosa ©Foto Christine Winkler">
            <a:extLst>
              <a:ext uri="{FF2B5EF4-FFF2-40B4-BE49-F238E27FC236}">
                <a16:creationId xmlns:a16="http://schemas.microsoft.com/office/drawing/2014/main" id="{1F5697DC-F292-4405-90B1-A7150DDE6E74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7242" y="5257800"/>
            <a:ext cx="1797046" cy="1600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554AA0-4626-464D-B6FD-0A7BDD778E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62705" y="5257800"/>
            <a:ext cx="1728000" cy="230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3272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3" name="Picture 7" descr="C:\Users\jugen\AppData\Local\Microsoft\Windows\INetCache\IE\0V0VIBJT\christmas-frame-670768_960_720[1]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70C0"/>
          </a:solidFill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908719"/>
            <a:ext cx="7920880" cy="5112569"/>
          </a:xfrm>
          <a:prstGeom prst="rect">
            <a:avLst/>
          </a:prstGeom>
        </p:spPr>
      </p:pic>
      <p:sp>
        <p:nvSpPr>
          <p:cNvPr id="4" name="Titel 4"/>
          <p:cNvSpPr txBox="1">
            <a:spLocks/>
          </p:cNvSpPr>
          <p:nvPr/>
        </p:nvSpPr>
        <p:spPr>
          <a:xfrm>
            <a:off x="1691680" y="692696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chemeClr val="bg1"/>
                </a:solidFill>
              </a:rPr>
              <a:t>Jahreshauptversammlung 2021</a:t>
            </a:r>
            <a:br>
              <a:rPr lang="de-DE" sz="2400" b="1" i="1" u="sng" dirty="0">
                <a:solidFill>
                  <a:schemeClr val="bg1"/>
                </a:solidFill>
              </a:rPr>
            </a:br>
            <a:r>
              <a:rPr lang="de-DE" sz="2400" b="1" i="1" u="sng" dirty="0">
                <a:solidFill>
                  <a:schemeClr val="bg1"/>
                </a:solidFill>
              </a:rPr>
              <a:t>der NABU-Gruppe Rhein-Selz</a:t>
            </a:r>
            <a:endParaRPr lang="de-DE" sz="2400" b="1" u="sng" dirty="0">
              <a:solidFill>
                <a:schemeClr val="bg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755576" y="5517232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  </a:t>
            </a:r>
            <a:r>
              <a:rPr lang="de-DE" dirty="0">
                <a:solidFill>
                  <a:schemeClr val="bg1"/>
                </a:solidFill>
              </a:rPr>
              <a:t>E   N  D  E</a:t>
            </a:r>
          </a:p>
        </p:txBody>
      </p:sp>
    </p:spTree>
    <p:extLst>
      <p:ext uri="{BB962C8B-B14F-4D97-AF65-F5344CB8AC3E}">
        <p14:creationId xmlns:p14="http://schemas.microsoft.com/office/powerpoint/2010/main" val="42563274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62DADF58-F011-49E8-BDF3-DB11F83020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7" y="1819220"/>
            <a:ext cx="2255560" cy="3009901"/>
          </a:xfrm>
          <a:prstGeom prst="rect">
            <a:avLst/>
          </a:prstGeom>
        </p:spPr>
      </p:pic>
      <p:pic>
        <p:nvPicPr>
          <p:cNvPr id="6" name="Picture 2" descr="C:\Users\b-gei_000\Documents\NABU\Verwaltung\Logo Nabu rhein-Selz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1" y="6052439"/>
            <a:ext cx="971727" cy="709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6857997"/>
            <a:ext cx="9144000" cy="45719"/>
          </a:xfrm>
          <a:prstGeom prst="rect">
            <a:avLst/>
          </a:prstGeom>
          <a:solidFill>
            <a:srgbClr val="2D5AB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003399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>
          <a:xfrm>
            <a:off x="8066736" y="6482282"/>
            <a:ext cx="944742" cy="327616"/>
          </a:xfrm>
        </p:spPr>
        <p:txBody>
          <a:bodyPr/>
          <a:lstStyle/>
          <a:p>
            <a:fld id="{A194A020-4CA0-406A-A67A-4447F3C5548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.09.202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4388889" y="6481048"/>
            <a:ext cx="1188349" cy="297446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Barbara Geiger  </a:t>
            </a:r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2771800" y="170966"/>
            <a:ext cx="4932548" cy="297446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4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3975" b="1" i="1" dirty="0">
                <a:solidFill>
                  <a:srgbClr val="002060"/>
                </a:solidFill>
                <a:latin typeface="Source Sans Pro"/>
              </a:rPr>
              <a:t>Gewässer- und Amphibienerfassung 2021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4B80548-ACC6-4170-91EF-707033A3D8E7}"/>
              </a:ext>
            </a:extLst>
          </p:cNvPr>
          <p:cNvSpPr txBox="1"/>
          <p:nvPr/>
        </p:nvSpPr>
        <p:spPr>
          <a:xfrm>
            <a:off x="2771799" y="715765"/>
            <a:ext cx="6359509" cy="2608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rotz Winterhochwasser, trockenes Frühjahr mit niedrigen Wasserständen bis Anfang Mai. Danach steigend und ausreichend persistierend. </a:t>
            </a: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Anwanderung</a:t>
            </a:r>
            <a:r>
              <a:rPr lang="de-DE" sz="1400" dirty="0"/>
              <a:t> an Laichgewässer zog sich lange hin, da kaltes Frühjahr. Mehrfach Kammmolch und Knoblauchkröte bei der </a:t>
            </a:r>
            <a:r>
              <a:rPr lang="de-DE" sz="1400" dirty="0" err="1"/>
              <a:t>Anwanderung</a:t>
            </a:r>
            <a:r>
              <a:rPr lang="de-DE" sz="1400" dirty="0"/>
              <a:t> gesehen.</a:t>
            </a: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Laichvorgang zeitlich sehr verteilt. Noch Ende August Quappen und Molchlarven gesehen.</a:t>
            </a: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m Gegensatz zu letztem Jahr heuer deutlich mehr  Knoblauchkröten(Larven)</a:t>
            </a: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Erstaunlich wenig Teichmolche und ca. 30 Erdkröten</a:t>
            </a: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Nachweis des Laubfrosches in </a:t>
            </a:r>
            <a:r>
              <a:rPr lang="de-DE" sz="1400" dirty="0" err="1"/>
              <a:t>Guntersblum</a:t>
            </a:r>
            <a:endParaRPr lang="de-DE" sz="1400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076B190-3241-429C-9529-1291B54ACD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7" y="698062"/>
            <a:ext cx="2249412" cy="168566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7DCC5768-524F-4DA1-9EBA-85BAF2E877A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9" b="9274"/>
          <a:stretch/>
        </p:blipFill>
        <p:spPr>
          <a:xfrm>
            <a:off x="6692413" y="5176547"/>
            <a:ext cx="2450993" cy="1723039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49B490D-7BB5-4AB6-BAAD-64B6FA6D096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2413" y="3581562"/>
            <a:ext cx="2454860" cy="163657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7F613C0-2E7C-451C-8E29-5460232BD7E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7" y="4596497"/>
            <a:ext cx="3058892" cy="230721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2BE64834-A17F-41DE-BFD1-354488EB4CA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4535" y="3578087"/>
            <a:ext cx="4483192" cy="3325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67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1597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6" name="Titel 6"/>
          <p:cNvSpPr>
            <a:spLocks noGrp="1"/>
          </p:cNvSpPr>
          <p:nvPr>
            <p:ph type="title"/>
          </p:nvPr>
        </p:nvSpPr>
        <p:spPr>
          <a:xfrm>
            <a:off x="351259" y="1772816"/>
            <a:ext cx="8229600" cy="108012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899592" y="2479781"/>
            <a:ext cx="763284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+ Streuobstwiese(n) – Apfelernte Schwabsburg (neue Pacht von Fam. Naab)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++ keine Apfelernte in 2021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955" y="2924944"/>
            <a:ext cx="1869672" cy="2492896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057" y="3191850"/>
            <a:ext cx="4139952" cy="1959084"/>
          </a:xfrm>
          <a:prstGeom prst="rect">
            <a:avLst/>
          </a:prstGeom>
        </p:spPr>
      </p:pic>
      <p:sp>
        <p:nvSpPr>
          <p:cNvPr id="10" name="Titel 4"/>
          <p:cNvSpPr txBox="1">
            <a:spLocks/>
          </p:cNvSpPr>
          <p:nvPr/>
        </p:nvSpPr>
        <p:spPr>
          <a:xfrm>
            <a:off x="1331640" y="168708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81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67544" y="1628800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834632" y="2564904"/>
            <a:ext cx="784182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+ Iris spuria Wiese / Segelflugplatz Oppenheim (Aero-Club)</a:t>
            </a:r>
          </a:p>
          <a:p>
            <a:r>
              <a:rPr lang="de-DE" dirty="0"/>
              <a:t>       (Mahd noch nicht erfolgt) vorauss. Termine: 25.09., 02.10.,16.10.2021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++ weitere Pflegeflächen bei Oppenheim und Dienheim</a:t>
            </a:r>
          </a:p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7" y="3221212"/>
            <a:ext cx="2996845" cy="144795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3221212"/>
            <a:ext cx="2339752" cy="1549706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5447" y="3411433"/>
            <a:ext cx="1296879" cy="1958033"/>
          </a:xfrm>
          <a:prstGeom prst="rect">
            <a:avLst/>
          </a:prstGeom>
        </p:spPr>
      </p:pic>
      <p:sp>
        <p:nvSpPr>
          <p:cNvPr id="12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4149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115616" y="2420888"/>
            <a:ext cx="684076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+ Storchenwiese, Wald und Teich Ludwigshöhe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	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++ Dunkler Wiesenknopf-Ameisenbläuling Projekt 2021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949" y="2997971"/>
            <a:ext cx="2254379" cy="106680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3386" y="4922331"/>
            <a:ext cx="1584176" cy="104925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6140" y="3010271"/>
            <a:ext cx="1673932" cy="1108708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0554" y="4922331"/>
            <a:ext cx="1584176" cy="104926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195" y="3010559"/>
            <a:ext cx="1405621" cy="1054216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0234" y="4665646"/>
            <a:ext cx="983239" cy="1305944"/>
          </a:xfrm>
          <a:prstGeom prst="rect">
            <a:avLst/>
          </a:prstGeom>
        </p:spPr>
      </p:pic>
      <p:sp>
        <p:nvSpPr>
          <p:cNvPr id="15" name="Titel 5"/>
          <p:cNvSpPr>
            <a:spLocks noGrp="1"/>
          </p:cNvSpPr>
          <p:nvPr>
            <p:ph type="title"/>
          </p:nvPr>
        </p:nvSpPr>
        <p:spPr>
          <a:xfrm>
            <a:off x="467544" y="1628800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17" t="18447" r="12757" b="28796"/>
          <a:stretch/>
        </p:blipFill>
        <p:spPr>
          <a:xfrm>
            <a:off x="7569724" y="4665646"/>
            <a:ext cx="905405" cy="1305946"/>
          </a:xfrm>
          <a:prstGeom prst="rect">
            <a:avLst/>
          </a:prstGeom>
        </p:spPr>
      </p:pic>
      <p:sp>
        <p:nvSpPr>
          <p:cNvPr id="17" name="Textfeld 16"/>
          <p:cNvSpPr txBox="1"/>
          <p:nvPr/>
        </p:nvSpPr>
        <p:spPr>
          <a:xfrm>
            <a:off x="6744921" y="5740758"/>
            <a:ext cx="27443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d.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200695" y="5740760"/>
            <a:ext cx="27443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h.</a:t>
            </a:r>
          </a:p>
        </p:txBody>
      </p:sp>
      <p:sp>
        <p:nvSpPr>
          <p:cNvPr id="19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949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1501642" y="2546265"/>
            <a:ext cx="3744615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Friesenheim (Streuobstwiese)   Lothar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Titel 5"/>
          <p:cNvSpPr>
            <a:spLocks noGrp="1"/>
          </p:cNvSpPr>
          <p:nvPr>
            <p:ph type="title"/>
          </p:nvPr>
        </p:nvSpPr>
        <p:spPr>
          <a:xfrm>
            <a:off x="467544" y="1628800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949" y="3762489"/>
            <a:ext cx="1456609" cy="1942145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086" y="2852936"/>
            <a:ext cx="2365917" cy="540576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630" y="5291923"/>
            <a:ext cx="466592" cy="500715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4293915"/>
            <a:ext cx="1884788" cy="1248366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3859810"/>
            <a:ext cx="1383618" cy="184482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682" y="3378349"/>
            <a:ext cx="1627673" cy="915566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821" y="4509120"/>
            <a:ext cx="986789" cy="1315719"/>
          </a:xfrm>
          <a:prstGeom prst="rect">
            <a:avLst/>
          </a:prstGeom>
        </p:spPr>
      </p:pic>
      <p:sp>
        <p:nvSpPr>
          <p:cNvPr id="18" name="Titel 4"/>
          <p:cNvSpPr txBox="1">
            <a:spLocks/>
          </p:cNvSpPr>
          <p:nvPr/>
        </p:nvSpPr>
        <p:spPr>
          <a:xfrm>
            <a:off x="1043608" y="98339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4679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 intensity="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60649"/>
            <a:ext cx="1704603" cy="1211848"/>
          </a:xfrm>
          <a:prstGeom prst="rect">
            <a:avLst/>
          </a:prstGeom>
        </p:spPr>
      </p:pic>
      <p:sp>
        <p:nvSpPr>
          <p:cNvPr id="7" name="Titel 5"/>
          <p:cNvSpPr>
            <a:spLocks noGrp="1"/>
          </p:cNvSpPr>
          <p:nvPr>
            <p:ph type="title"/>
          </p:nvPr>
        </p:nvSpPr>
        <p:spPr>
          <a:xfrm>
            <a:off x="467544" y="1628800"/>
            <a:ext cx="8229600" cy="1143000"/>
          </a:xfrm>
        </p:spPr>
        <p:txBody>
          <a:bodyPr/>
          <a:lstStyle/>
          <a:p>
            <a:pPr rtl="0" eaLnBrk="1" latinLnBrk="0" hangingPunct="1"/>
            <a:r>
              <a:rPr lang="de-DE" sz="1800" b="1" u="sng" kern="1200" dirty="0">
                <a:solidFill>
                  <a:srgbClr val="000000"/>
                </a:solidFill>
                <a:effectLst/>
                <a:latin typeface="Calibri"/>
                <a:ea typeface="+mj-ea"/>
                <a:cs typeface="+mj-cs"/>
              </a:rPr>
              <a:t>Tätigkeitsbericht der NABU-Gruppe Rhein-Selz</a:t>
            </a:r>
            <a:endParaRPr lang="de-DE" dirty="0">
              <a:effectLst/>
            </a:endParaRPr>
          </a:p>
          <a:p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970204" y="2530565"/>
            <a:ext cx="663252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Eulenschutz (Steinkauz, Schleiereule, Uhu)  Barbara, Uwe, Paul, Karin</a:t>
            </a:r>
          </a:p>
          <a:p>
            <a:endParaRPr lang="de-DE" dirty="0"/>
          </a:p>
          <a:p>
            <a:r>
              <a:rPr lang="de-DE" dirty="0"/>
              <a:t> 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491880" y="3585525"/>
            <a:ext cx="1937828" cy="145337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3094746"/>
            <a:ext cx="1807433" cy="240991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02" r="10360" b="8209"/>
          <a:stretch/>
        </p:blipFill>
        <p:spPr>
          <a:xfrm>
            <a:off x="7433149" y="1621404"/>
            <a:ext cx="1006212" cy="127132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5920" y="3212976"/>
            <a:ext cx="2060669" cy="2829056"/>
          </a:xfrm>
          <a:prstGeom prst="rect">
            <a:avLst/>
          </a:prstGeom>
        </p:spPr>
      </p:pic>
      <p:sp>
        <p:nvSpPr>
          <p:cNvPr id="11" name="Titel 4"/>
          <p:cNvSpPr txBox="1">
            <a:spLocks/>
          </p:cNvSpPr>
          <p:nvPr/>
        </p:nvSpPr>
        <p:spPr>
          <a:xfrm>
            <a:off x="1331640" y="76768"/>
            <a:ext cx="6101509" cy="1395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400" b="1" i="1" u="sng" dirty="0">
                <a:solidFill>
                  <a:srgbClr val="0068B4"/>
                </a:solidFill>
              </a:rPr>
              <a:t>Jahreshauptversammlung 2021</a:t>
            </a:r>
            <a:br>
              <a:rPr lang="de-DE" sz="2400" b="1" i="1" u="sng" dirty="0">
                <a:solidFill>
                  <a:srgbClr val="0068B4"/>
                </a:solidFill>
              </a:rPr>
            </a:br>
            <a:r>
              <a:rPr lang="de-DE" sz="2400" b="1" i="1" u="sng" dirty="0">
                <a:solidFill>
                  <a:srgbClr val="0068B4"/>
                </a:solidFill>
              </a:rPr>
              <a:t>der NABU-Gruppe Rhein-Selz</a:t>
            </a:r>
            <a:endParaRPr lang="de-DE" sz="2400" b="1" u="sng" dirty="0">
              <a:solidFill>
                <a:srgbClr val="0068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815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33</Words>
  <Application>Microsoft Office PowerPoint</Application>
  <PresentationFormat>Bildschirmpräsentation (4:3)</PresentationFormat>
  <Paragraphs>317</Paragraphs>
  <Slides>39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9</vt:i4>
      </vt:variant>
    </vt:vector>
  </HeadingPairs>
  <TitlesOfParts>
    <vt:vector size="49" baseType="lpstr">
      <vt:lpstr>Architects Daughter</vt:lpstr>
      <vt:lpstr>Arial</vt:lpstr>
      <vt:lpstr>ArialMT</vt:lpstr>
      <vt:lpstr>Calibri</vt:lpstr>
      <vt:lpstr>Lucida Sans Unicode</vt:lpstr>
      <vt:lpstr>Source Sans Pro</vt:lpstr>
      <vt:lpstr>TKTypeMedium</vt:lpstr>
      <vt:lpstr>Larissa</vt:lpstr>
      <vt:lpstr>Acrobat Document</vt:lpstr>
      <vt:lpstr>think-cell Slide</vt:lpstr>
      <vt:lpstr>Jahreshauptversammlung 2021 der NABU-Gruppe Rhein-Selz</vt:lpstr>
      <vt:lpstr>Begrüßung </vt:lpstr>
      <vt:lpstr>Tätigkeitsbericht der NABU-Gruppe Rhein-Selz </vt:lpstr>
      <vt:lpstr>PowerPoint-Präsentation</vt:lpstr>
      <vt:lpstr>Tätigkeitsbericht der NABU-Gruppe Rhein-Selz </vt:lpstr>
      <vt:lpstr>Tätigkeitsbericht der NABU-Gruppe Rhein-Selz </vt:lpstr>
      <vt:lpstr>Tätigkeitsbericht der NABU-Gruppe Rhein-Selz </vt:lpstr>
      <vt:lpstr>Tätigkeitsbericht der NABU-Gruppe Rhein-Selz </vt:lpstr>
      <vt:lpstr>Tätigkeitsbericht der NABU-Gruppe Rhein-Selz </vt:lpstr>
      <vt:lpstr>Tätigkeitsbericht der NABU-Gruppe Rhein-Selz </vt:lpstr>
      <vt:lpstr>Tätigkeitsbericht der NABU-Gruppe Rhein-Selz </vt:lpstr>
      <vt:lpstr>Tätigkeitsbericht der NABU-Gruppe Rhein-Selz </vt:lpstr>
      <vt:lpstr>Tätigkeitsbericht der NABU-Gruppe Rhein-Selz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Tätigkeitsbericht der NABU-Gruppe Rhein-Selz </vt:lpstr>
      <vt:lpstr>Tätigkeitsbericht der NABU-Gruppe Rhein-Selz </vt:lpstr>
      <vt:lpstr>Tätigkeitsbericht der NABU-Gruppe Rhein-Selz </vt:lpstr>
      <vt:lpstr>Tätigkeitsbericht der NABU-Gruppe Rhein-Selz </vt:lpstr>
      <vt:lpstr>Tätigkeitsbericht der NABU-Gruppe Rhein-Selz </vt:lpstr>
      <vt:lpstr>Tätigkeitsbericht der NABU-Gruppe Rhein-Selz </vt:lpstr>
      <vt:lpstr>PowerPoint-Präsentation</vt:lpstr>
      <vt:lpstr>PowerPoint-Präsentation</vt:lpstr>
      <vt:lpstr>PowerPoint-Präsentation</vt:lpstr>
      <vt:lpstr>Kassenwart </vt:lpstr>
      <vt:lpstr>Kassenbericht </vt:lpstr>
      <vt:lpstr>Kassenprüfer</vt:lpstr>
      <vt:lpstr>Aussprache zu den Berichten </vt:lpstr>
      <vt:lpstr>PowerPoint-Präsentation</vt:lpstr>
      <vt:lpstr>Ehrungen</vt:lpstr>
      <vt:lpstr>Ehrungen</vt:lpstr>
      <vt:lpstr>Ausblick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ahreshauptversammlung 2021 der NABU-Gruppe Rhein-Selz</dc:title>
  <dc:creator>Paul Britz</dc:creator>
  <cp:lastModifiedBy>Lorenz, Volkhard (ext)</cp:lastModifiedBy>
  <cp:revision>89</cp:revision>
  <dcterms:created xsi:type="dcterms:W3CDTF">2021-08-30T09:32:04Z</dcterms:created>
  <dcterms:modified xsi:type="dcterms:W3CDTF">2021-09-10T14:1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463cba9-5f6c-478d-9329-7b2295e4e8ed_Enabled">
    <vt:lpwstr>true</vt:lpwstr>
  </property>
  <property fmtid="{D5CDD505-2E9C-101B-9397-08002B2CF9AE}" pid="3" name="MSIP_Label_e463cba9-5f6c-478d-9329-7b2295e4e8ed_SetDate">
    <vt:lpwstr>2021-09-09T05:11:58Z</vt:lpwstr>
  </property>
  <property fmtid="{D5CDD505-2E9C-101B-9397-08002B2CF9AE}" pid="4" name="MSIP_Label_e463cba9-5f6c-478d-9329-7b2295e4e8ed_Method">
    <vt:lpwstr>Standard</vt:lpwstr>
  </property>
  <property fmtid="{D5CDD505-2E9C-101B-9397-08002B2CF9AE}" pid="5" name="MSIP_Label_e463cba9-5f6c-478d-9329-7b2295e4e8ed_Name">
    <vt:lpwstr>All Employees_2</vt:lpwstr>
  </property>
  <property fmtid="{D5CDD505-2E9C-101B-9397-08002B2CF9AE}" pid="6" name="MSIP_Label_e463cba9-5f6c-478d-9329-7b2295e4e8ed_SiteId">
    <vt:lpwstr>33440fc6-b7c7-412c-bb73-0e70b0198d5a</vt:lpwstr>
  </property>
  <property fmtid="{D5CDD505-2E9C-101B-9397-08002B2CF9AE}" pid="7" name="MSIP_Label_e463cba9-5f6c-478d-9329-7b2295e4e8ed_ActionId">
    <vt:lpwstr>146ffef6-a5ab-44a0-a64d-11c7509e1823</vt:lpwstr>
  </property>
  <property fmtid="{D5CDD505-2E9C-101B-9397-08002B2CF9AE}" pid="8" name="MSIP_Label_e463cba9-5f6c-478d-9329-7b2295e4e8ed_ContentBits">
    <vt:lpwstr>0</vt:lpwstr>
  </property>
</Properties>
</file>